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3.xml" ContentType="application/vnd.openxmlformats-officedocument.theme+xml"/>
  <Override PartName="/ppt/tags/tag80.xml" ContentType="application/vnd.openxmlformats-officedocument.presentationml.tags+xml"/>
  <Override PartName="/ppt/tags/tag81.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4.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5.xml" ContentType="application/vnd.openxmlformats-officedocument.theme+xml"/>
  <Override PartName="/ppt/tags/tag84.xml" ContentType="application/vnd.openxmlformats-officedocument.presentationml.tags+xml"/>
  <Override PartName="/ppt/tags/tag85.xml" ContentType="application/vnd.openxmlformats-officedocument.presentationml.tags+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6.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7.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tags/tag16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4"/>
    <p:sldMasterId id="2147483711" r:id="rId5"/>
    <p:sldMasterId id="2147483785" r:id="rId6"/>
    <p:sldMasterId id="2147483800" r:id="rId7"/>
    <p:sldMasterId id="2147483816" r:id="rId8"/>
    <p:sldMasterId id="2147483831" r:id="rId9"/>
    <p:sldMasterId id="2147483905" r:id="rId10"/>
    <p:sldMasterId id="2147483914" r:id="rId11"/>
  </p:sldMasterIdLst>
  <p:notesMasterIdLst>
    <p:notesMasterId r:id="rId25"/>
  </p:notesMasterIdLst>
  <p:handoutMasterIdLst>
    <p:handoutMasterId r:id="rId26"/>
  </p:handoutMasterIdLst>
  <p:sldIdLst>
    <p:sldId id="2147483471" r:id="rId12"/>
    <p:sldId id="2147483450" r:id="rId13"/>
    <p:sldId id="2147483445" r:id="rId14"/>
    <p:sldId id="2147483451" r:id="rId15"/>
    <p:sldId id="2147483475" r:id="rId16"/>
    <p:sldId id="2147480529" r:id="rId17"/>
    <p:sldId id="2147480531" r:id="rId18"/>
    <p:sldId id="2147483446" r:id="rId19"/>
    <p:sldId id="2147483447" r:id="rId20"/>
    <p:sldId id="2147480346" r:id="rId21"/>
    <p:sldId id="2147483448" r:id="rId22"/>
    <p:sldId id="2147480410" r:id="rId23"/>
    <p:sldId id="2147480528" r:id="rId24"/>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706"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4BFABEC-BE19-51B1-789F-9148450BE7EC}" name="Lonetti, Carolina" initials="LC" userId="S::c.lonetti@simest.it::787380c1-75d8-46ca-ab4e-94bf8f3b6fe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EFD"/>
    <a:srgbClr val="F7F7F7"/>
    <a:srgbClr val="F2EFEC"/>
    <a:srgbClr val="005392"/>
    <a:srgbClr val="415364"/>
    <a:srgbClr val="538586"/>
    <a:srgbClr val="FF3584"/>
    <a:srgbClr val="FFFFFF"/>
    <a:srgbClr val="EE6870"/>
    <a:srgbClr val="FAFAFA"/>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E4FA7E5-73A4-47B5-A7B7-DFC121F6CB2B}" v="3" dt="2026-01-21T15:26:07.75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994" autoAdjust="0"/>
    <p:restoredTop sz="93792" autoAdjust="0"/>
  </p:normalViewPr>
  <p:slideViewPr>
    <p:cSldViewPr snapToGrid="0">
      <p:cViewPr varScale="1">
        <p:scale>
          <a:sx n="52" d="100"/>
          <a:sy n="52" d="100"/>
        </p:scale>
        <p:origin x="1428" y="264"/>
      </p:cViewPr>
      <p:guideLst>
        <p:guide orient="horz" pos="1706"/>
        <p:guide pos="3840"/>
      </p:guideLst>
    </p:cSldViewPr>
  </p:slideViewPr>
  <p:notesTextViewPr>
    <p:cViewPr>
      <p:scale>
        <a:sx n="1" d="1"/>
        <a:sy n="1" d="1"/>
      </p:scale>
      <p:origin x="0" y="0"/>
    </p:cViewPr>
  </p:notesTextViewPr>
  <p:notesViewPr>
    <p:cSldViewPr snapToGrid="0">
      <p:cViewPr varScale="1">
        <p:scale>
          <a:sx n="68" d="100"/>
          <a:sy n="68" d="100"/>
        </p:scale>
        <p:origin x="2805" y="31"/>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0.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8.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a:extLst>
              <a:ext uri="{FF2B5EF4-FFF2-40B4-BE49-F238E27FC236}">
                <a16:creationId xmlns:a16="http://schemas.microsoft.com/office/drawing/2014/main" id="{B3F2D02A-A90E-4D75-6031-8F3D2E6ED54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a:extLst>
              <a:ext uri="{FF2B5EF4-FFF2-40B4-BE49-F238E27FC236}">
                <a16:creationId xmlns:a16="http://schemas.microsoft.com/office/drawing/2014/main" id="{510443F1-B971-96E8-6790-5482C5B4C07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160AB16-7394-4A96-ADBE-384C262EAB7E}" type="datetimeFigureOut">
              <a:rPr lang="it-IT" smtClean="0"/>
              <a:t>19/02/2026</a:t>
            </a:fld>
            <a:endParaRPr lang="it-IT"/>
          </a:p>
        </p:txBody>
      </p:sp>
      <p:sp>
        <p:nvSpPr>
          <p:cNvPr id="4" name="Segnaposto piè di pagina 3">
            <a:extLst>
              <a:ext uri="{FF2B5EF4-FFF2-40B4-BE49-F238E27FC236}">
                <a16:creationId xmlns:a16="http://schemas.microsoft.com/office/drawing/2014/main" id="{91F0AB69-4E0E-E6A9-3C79-05A0EC7EFDA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5" name="Segnaposto numero diapositiva 4">
            <a:extLst>
              <a:ext uri="{FF2B5EF4-FFF2-40B4-BE49-F238E27FC236}">
                <a16:creationId xmlns:a16="http://schemas.microsoft.com/office/drawing/2014/main" id="{8243388E-2989-4B2A-C55E-530960C00C5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D953CE7-29E0-4DCA-9C19-A3687D36D84E}" type="slidenum">
              <a:rPr lang="it-IT" smtClean="0"/>
              <a:t>‹N›</a:t>
            </a:fld>
            <a:endParaRPr lang="it-IT"/>
          </a:p>
        </p:txBody>
      </p:sp>
    </p:spTree>
    <p:extLst>
      <p:ext uri="{BB962C8B-B14F-4D97-AF65-F5344CB8AC3E}">
        <p14:creationId xmlns:p14="http://schemas.microsoft.com/office/powerpoint/2010/main" val="37581369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C90F33-B965-462B-84E0-3A5CFC122C34}" type="datetimeFigureOut">
              <a:rPr lang="it-IT" smtClean="0"/>
              <a:t>19/02/2026</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4058E8-4991-4AB4-87EE-B92EDF3FBAEC}" type="slidenum">
              <a:rPr lang="it-IT" smtClean="0"/>
              <a:t>‹N›</a:t>
            </a:fld>
            <a:endParaRPr lang="it-IT"/>
          </a:p>
        </p:txBody>
      </p:sp>
    </p:spTree>
    <p:extLst>
      <p:ext uri="{BB962C8B-B14F-4D97-AF65-F5344CB8AC3E}">
        <p14:creationId xmlns:p14="http://schemas.microsoft.com/office/powerpoint/2010/main" val="23515090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4058E8-4991-4AB4-87EE-B92EDF3FBA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12765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F4D9224-B00B-4535-8DBE-F4FAF4303CDE}"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04044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75.bin"/></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89.xml"/><Relationship Id="rId4" Type="http://schemas.openxmlformats.org/officeDocument/2006/relationships/image" Target="../media/image8.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6.xml"/><Relationship Id="rId1" Type="http://schemas.openxmlformats.org/officeDocument/2006/relationships/tags" Target="../tags/tag90.xml"/><Relationship Id="rId4" Type="http://schemas.openxmlformats.org/officeDocument/2006/relationships/image" Target="../media/image8.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6.xml"/><Relationship Id="rId1" Type="http://schemas.openxmlformats.org/officeDocument/2006/relationships/tags" Target="../tags/tag91.xml"/><Relationship Id="rId4" Type="http://schemas.openxmlformats.org/officeDocument/2006/relationships/image" Target="../media/image8.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6.xml"/><Relationship Id="rId1" Type="http://schemas.openxmlformats.org/officeDocument/2006/relationships/tags" Target="../tags/tag92.xml"/><Relationship Id="rId4" Type="http://schemas.openxmlformats.org/officeDocument/2006/relationships/image" Target="../media/image8.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6.xml"/><Relationship Id="rId1" Type="http://schemas.openxmlformats.org/officeDocument/2006/relationships/tags" Target="../tags/tag93.xml"/><Relationship Id="rId4" Type="http://schemas.openxmlformats.org/officeDocument/2006/relationships/image" Target="../media/image8.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6.xml"/><Relationship Id="rId1" Type="http://schemas.openxmlformats.org/officeDocument/2006/relationships/tags" Target="../tags/tag94.xml"/><Relationship Id="rId4" Type="http://schemas.openxmlformats.org/officeDocument/2006/relationships/image" Target="../media/image8.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6.xml"/><Relationship Id="rId1" Type="http://schemas.openxmlformats.org/officeDocument/2006/relationships/tags" Target="../tags/tag95.xml"/><Relationship Id="rId4" Type="http://schemas.openxmlformats.org/officeDocument/2006/relationships/image" Target="../media/image8.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6.xml"/><Relationship Id="rId1" Type="http://schemas.openxmlformats.org/officeDocument/2006/relationships/tags" Target="../tags/tag96.xml"/><Relationship Id="rId4" Type="http://schemas.openxmlformats.org/officeDocument/2006/relationships/image" Target="../media/image8.emf"/></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6.xml"/><Relationship Id="rId1" Type="http://schemas.openxmlformats.org/officeDocument/2006/relationships/tags" Target="../tags/tag97.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6.xml"/><Relationship Id="rId1" Type="http://schemas.openxmlformats.org/officeDocument/2006/relationships/tags" Target="../tags/tag98.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6.xml"/><Relationship Id="rId1" Type="http://schemas.openxmlformats.org/officeDocument/2006/relationships/tags" Target="../tags/tag99.xml"/><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100.xml"/><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6.xml"/><Relationship Id="rId1" Type="http://schemas.openxmlformats.org/officeDocument/2006/relationships/tags" Target="../tags/tag101.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6.xml"/><Relationship Id="rId1" Type="http://schemas.openxmlformats.org/officeDocument/2006/relationships/tags" Target="../tags/tag102.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6.xml"/><Relationship Id="rId1" Type="http://schemas.openxmlformats.org/officeDocument/2006/relationships/tags" Target="../tags/tag103.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6.xml"/><Relationship Id="rId1" Type="http://schemas.openxmlformats.org/officeDocument/2006/relationships/tags" Target="../tags/tag104.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8.emf"/></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6.xml"/><Relationship Id="rId1" Type="http://schemas.openxmlformats.org/officeDocument/2006/relationships/tags" Target="../tags/tag105.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6.xml"/><Relationship Id="rId1" Type="http://schemas.openxmlformats.org/officeDocument/2006/relationships/tags" Target="../tags/tag106.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3.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6.xml"/><Relationship Id="rId1" Type="http://schemas.openxmlformats.org/officeDocument/2006/relationships/tags" Target="../tags/tag107.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6.xml"/><Relationship Id="rId1" Type="http://schemas.openxmlformats.org/officeDocument/2006/relationships/tags" Target="../tags/tag108.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8.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6.xml"/><Relationship Id="rId1" Type="http://schemas.openxmlformats.org/officeDocument/2006/relationships/tags" Target="../tags/tag109.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6.xml"/><Relationship Id="rId1" Type="http://schemas.openxmlformats.org/officeDocument/2006/relationships/tags" Target="../tags/tag110.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8.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6.xml"/><Relationship Id="rId1" Type="http://schemas.openxmlformats.org/officeDocument/2006/relationships/tags" Target="../tags/tag111.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6.xml"/><Relationship Id="rId1" Type="http://schemas.openxmlformats.org/officeDocument/2006/relationships/tags" Target="../tags/tag112.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6.xml"/><Relationship Id="rId1" Type="http://schemas.openxmlformats.org/officeDocument/2006/relationships/tags" Target="../tags/tag113.xml"/><Relationship Id="rId4" Type="http://schemas.openxmlformats.org/officeDocument/2006/relationships/image" Target="../media/image8.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6.xml"/><Relationship Id="rId1" Type="http://schemas.openxmlformats.org/officeDocument/2006/relationships/tags" Target="../tags/tag114.xml"/><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image" Target="../media/image13.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6.xml"/><Relationship Id="rId1" Type="http://schemas.openxmlformats.org/officeDocument/2006/relationships/tags" Target="../tags/tag115.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6.xml"/><Relationship Id="rId1" Type="http://schemas.openxmlformats.org/officeDocument/2006/relationships/tags" Target="../tags/tag116.xml"/><Relationship Id="rId4" Type="http://schemas.openxmlformats.org/officeDocument/2006/relationships/image" Target="../media/image8.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6.xml"/><Relationship Id="rId1" Type="http://schemas.openxmlformats.org/officeDocument/2006/relationships/tags" Target="../tags/tag117.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8.emf"/></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6.xml"/><Relationship Id="rId1" Type="http://schemas.openxmlformats.org/officeDocument/2006/relationships/tags" Target="../tags/tag118.xml"/><Relationship Id="rId4" Type="http://schemas.openxmlformats.org/officeDocument/2006/relationships/image" Target="../media/image8.emf"/></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6.xml"/><Relationship Id="rId1" Type="http://schemas.openxmlformats.org/officeDocument/2006/relationships/tags" Target="../tags/tag119.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6.xml"/><Relationship Id="rId1" Type="http://schemas.openxmlformats.org/officeDocument/2006/relationships/tags" Target="../tags/tag120.xml"/><Relationship Id="rId4" Type="http://schemas.openxmlformats.org/officeDocument/2006/relationships/image" Target="../media/image8.emf"/></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5.bin"/></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6.xml"/><Relationship Id="rId1" Type="http://schemas.openxmlformats.org/officeDocument/2006/relationships/tags" Target="../tags/tag123.xml"/><Relationship Id="rId4" Type="http://schemas.openxmlformats.org/officeDocument/2006/relationships/image" Target="../media/image8.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6.xml"/><Relationship Id="rId1" Type="http://schemas.openxmlformats.org/officeDocument/2006/relationships/tags" Target="../tags/tag124.xml"/><Relationship Id="rId4" Type="http://schemas.openxmlformats.org/officeDocument/2006/relationships/image" Target="../media/image8.emf"/></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6.xml"/><Relationship Id="rId1" Type="http://schemas.openxmlformats.org/officeDocument/2006/relationships/tags" Target="../tags/tag125.xml"/><Relationship Id="rId4" Type="http://schemas.openxmlformats.org/officeDocument/2006/relationships/image" Target="../media/image8.emf"/></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6.xml"/><Relationship Id="rId1" Type="http://schemas.openxmlformats.org/officeDocument/2006/relationships/tags" Target="../tags/tag126.xml"/><Relationship Id="rId4" Type="http://schemas.openxmlformats.org/officeDocument/2006/relationships/image" Target="../media/image8.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6.xml"/><Relationship Id="rId1" Type="http://schemas.openxmlformats.org/officeDocument/2006/relationships/tags" Target="../tags/tag127.xml"/><Relationship Id="rId4" Type="http://schemas.openxmlformats.org/officeDocument/2006/relationships/image" Target="../media/image8.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6.xml"/><Relationship Id="rId1" Type="http://schemas.openxmlformats.org/officeDocument/2006/relationships/tags" Target="../tags/tag128.xml"/><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8.emf"/></Relationships>
</file>

<file path=ppt/slideLayouts/_rels/slideLayout17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6.xml"/><Relationship Id="rId1" Type="http://schemas.openxmlformats.org/officeDocument/2006/relationships/tags" Target="../tags/tag129.xml"/><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6.xml"/><Relationship Id="rId1" Type="http://schemas.openxmlformats.org/officeDocument/2006/relationships/tags" Target="../tags/tag130.xml"/><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6.xml"/><Relationship Id="rId1" Type="http://schemas.openxmlformats.org/officeDocument/2006/relationships/tags" Target="../tags/tag131.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6.xml"/><Relationship Id="rId1" Type="http://schemas.openxmlformats.org/officeDocument/2006/relationships/tags" Target="../tags/tag132.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6.xml"/><Relationship Id="rId1" Type="http://schemas.openxmlformats.org/officeDocument/2006/relationships/tags" Target="../tags/tag133.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6.xml"/><Relationship Id="rId1" Type="http://schemas.openxmlformats.org/officeDocument/2006/relationships/tags" Target="../tags/tag134.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13.emf"/></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6.xml"/><Relationship Id="rId1" Type="http://schemas.openxmlformats.org/officeDocument/2006/relationships/tags" Target="../tags/tag135.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6.xml"/><Relationship Id="rId1" Type="http://schemas.openxmlformats.org/officeDocument/2006/relationships/tags" Target="../tags/tag136.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8.emf"/></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6.xml"/><Relationship Id="rId1" Type="http://schemas.openxmlformats.org/officeDocument/2006/relationships/tags" Target="../tags/tag137.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6.xml"/><Relationship Id="rId1" Type="http://schemas.openxmlformats.org/officeDocument/2006/relationships/tags" Target="../tags/tag138.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8.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8.emf"/></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6.xml"/><Relationship Id="rId1" Type="http://schemas.openxmlformats.org/officeDocument/2006/relationships/tags" Target="../tags/tag139.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6.xml"/><Relationship Id="rId1" Type="http://schemas.openxmlformats.org/officeDocument/2006/relationships/tags" Target="../tags/tag140.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8.emf"/></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6.xml"/><Relationship Id="rId1" Type="http://schemas.openxmlformats.org/officeDocument/2006/relationships/tags" Target="../tags/tag141.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6.xml"/><Relationship Id="rId1" Type="http://schemas.openxmlformats.org/officeDocument/2006/relationships/tags" Target="../tags/tag142.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6.xml"/><Relationship Id="rId1" Type="http://schemas.openxmlformats.org/officeDocument/2006/relationships/tags" Target="../tags/tag143.xml"/><Relationship Id="rId4" Type="http://schemas.openxmlformats.org/officeDocument/2006/relationships/image" Target="../media/image8.emf"/></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6.xml"/><Relationship Id="rId1" Type="http://schemas.openxmlformats.org/officeDocument/2006/relationships/tags" Target="../tags/tag144.xml"/><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image" Target="../media/image5.emf"/></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6.xml"/><Relationship Id="rId1" Type="http://schemas.openxmlformats.org/officeDocument/2006/relationships/tags" Target="../tags/tag145.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6.xml"/><Relationship Id="rId1" Type="http://schemas.openxmlformats.org/officeDocument/2006/relationships/tags" Target="../tags/tag146.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8.emf"/></Relationships>
</file>

<file path=ppt/slideLayouts/_rels/slideLayout188.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6.xml"/><Relationship Id="rId1" Type="http://schemas.openxmlformats.org/officeDocument/2006/relationships/tags" Target="../tags/tag147.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89.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6.xml"/><Relationship Id="rId1" Type="http://schemas.openxmlformats.org/officeDocument/2006/relationships/tags" Target="../tags/tag148.xml"/><Relationship Id="rId4" Type="http://schemas.openxmlformats.org/officeDocument/2006/relationships/image" Target="../media/image8.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8.emf"/></Relationships>
</file>

<file path=ppt/slideLayouts/_rels/slideLayout190.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6.xml"/><Relationship Id="rId1" Type="http://schemas.openxmlformats.org/officeDocument/2006/relationships/tags" Target="../tags/tag149.xml"/><Relationship Id="rId4" Type="http://schemas.openxmlformats.org/officeDocument/2006/relationships/image" Target="../media/image8.emf"/></Relationships>
</file>

<file path=ppt/slideLayouts/_rels/slideLayout191.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6.xml"/><Relationship Id="rId1" Type="http://schemas.openxmlformats.org/officeDocument/2006/relationships/tags" Target="../tags/tag150.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6.xml"/><Relationship Id="rId1" Type="http://schemas.openxmlformats.org/officeDocument/2006/relationships/tags" Target="../tags/tag151.xml"/><Relationship Id="rId4" Type="http://schemas.openxmlformats.org/officeDocument/2006/relationships/image" Target="../media/image8.emf"/></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65.bin"/></Relationships>
</file>

<file path=ppt/slideLayouts/_rels/slideLayout194.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6.xml"/><Relationship Id="rId1" Type="http://schemas.openxmlformats.org/officeDocument/2006/relationships/tags" Target="../tags/tag154.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6.xml"/><Relationship Id="rId1" Type="http://schemas.openxmlformats.org/officeDocument/2006/relationships/tags" Target="../tags/tag155.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6.xml"/><Relationship Id="rId1" Type="http://schemas.openxmlformats.org/officeDocument/2006/relationships/tags" Target="../tags/tag156.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7.emf"/></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8.xml"/><Relationship Id="rId1" Type="http://schemas.openxmlformats.org/officeDocument/2006/relationships/tags" Target="../tags/tag157.xml"/><Relationship Id="rId5" Type="http://schemas.openxmlformats.org/officeDocument/2006/relationships/image" Target="../media/image7.emf"/><Relationship Id="rId4" Type="http://schemas.openxmlformats.org/officeDocument/2006/relationships/oleObject" Target="../embeddings/oleObject69.bin"/></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6.xml"/><Relationship Id="rId1" Type="http://schemas.openxmlformats.org/officeDocument/2006/relationships/tags" Target="../tags/tag159.xml"/><Relationship Id="rId4" Type="http://schemas.openxmlformats.org/officeDocument/2006/relationships/image" Target="../media/image7.emf"/></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6.xml"/><Relationship Id="rId1" Type="http://schemas.openxmlformats.org/officeDocument/2006/relationships/tags" Target="../tags/tag160.xml"/><Relationship Id="rId4" Type="http://schemas.openxmlformats.org/officeDocument/2006/relationships/image" Target="../media/image7.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8.emf"/></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6.xml"/><Relationship Id="rId1" Type="http://schemas.openxmlformats.org/officeDocument/2006/relationships/tags" Target="../tags/tag161.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7.emf"/></Relationships>
</file>

<file path=ppt/slideLayouts/_rels/slideLayout201.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6.xml"/><Relationship Id="rId1" Type="http://schemas.openxmlformats.org/officeDocument/2006/relationships/tags" Target="../tags/tag162.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7.emf"/></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8.emf"/></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8.emf"/></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8.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4.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5.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6.xml"/><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7.xml"/><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9.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1.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8.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2.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3.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4.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5.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8.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6.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7.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8.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28.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29.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8.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31.xml"/><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image" Target="../media/image13.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32.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8.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4.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8.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36.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8.emf"/></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5.bin"/></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40.xml"/><Relationship Id="rId4" Type="http://schemas.openxmlformats.org/officeDocument/2006/relationships/image" Target="../media/image8.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41.xml"/><Relationship Id="rId4" Type="http://schemas.openxmlformats.org/officeDocument/2006/relationships/image" Target="../media/image8.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42.xml"/><Relationship Id="rId4" Type="http://schemas.openxmlformats.org/officeDocument/2006/relationships/image" Target="../media/image8.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43.xml"/><Relationship Id="rId4" Type="http://schemas.openxmlformats.org/officeDocument/2006/relationships/image" Target="../media/image8.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44.xml"/><Relationship Id="rId4" Type="http://schemas.openxmlformats.org/officeDocument/2006/relationships/image" Target="../media/image8.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45.xml"/><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46.xml"/><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2.xml"/><Relationship Id="rId1" Type="http://schemas.openxmlformats.org/officeDocument/2006/relationships/tags" Target="../tags/tag47.xml"/><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48.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49.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50.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8.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51.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13.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52.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53.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8.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54.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55.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8.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57.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8.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58.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60.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image" Target="../media/image5.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62.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3.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8.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4.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5.xml"/><Relationship Id="rId4" Type="http://schemas.openxmlformats.org/officeDocument/2006/relationships/image" Target="../media/image8.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66.xml"/><Relationship Id="rId4" Type="http://schemas.openxmlformats.org/officeDocument/2006/relationships/image" Target="../media/image8.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67.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68.xml"/><Relationship Id="rId4" Type="http://schemas.openxmlformats.org/officeDocument/2006/relationships/image" Target="../media/image8.emf"/></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65.bin"/></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xml"/><Relationship Id="rId1" Type="http://schemas.openxmlformats.org/officeDocument/2006/relationships/tags" Target="../tags/tag71.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72.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73.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7.emf"/></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7.emf"/><Relationship Id="rId4" Type="http://schemas.openxmlformats.org/officeDocument/2006/relationships/oleObject" Target="../embeddings/oleObject69.bin"/></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xml"/><Relationship Id="rId1" Type="http://schemas.openxmlformats.org/officeDocument/2006/relationships/tags" Target="../tags/tag76.xml"/><Relationship Id="rId4" Type="http://schemas.openxmlformats.org/officeDocument/2006/relationships/image" Target="../media/image7.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77.xml"/><Relationship Id="rId4" Type="http://schemas.openxmlformats.org/officeDocument/2006/relationships/image" Target="../media/image7.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78.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7.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xml"/><Relationship Id="rId1" Type="http://schemas.openxmlformats.org/officeDocument/2006/relationships/tags" Target="../tags/tag79.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7.emf"/></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2676635924"/>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Vu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480196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5" name="Immagine 4">
            <a:extLst>
              <a:ext uri="{FF2B5EF4-FFF2-40B4-BE49-F238E27FC236}">
                <a16:creationId xmlns:a16="http://schemas.microsoft.com/office/drawing/2014/main" id="{4FFDA71E-E720-4505-6EDA-DA267E0322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212888" y="6345683"/>
            <a:ext cx="879326" cy="394181"/>
          </a:xfrm>
          <a:prstGeom prst="rect">
            <a:avLst/>
          </a:prstGeom>
        </p:spPr>
      </p:pic>
    </p:spTree>
    <p:extLst>
      <p:ext uri="{BB962C8B-B14F-4D97-AF65-F5344CB8AC3E}">
        <p14:creationId xmlns:p14="http://schemas.microsoft.com/office/powerpoint/2010/main" val="2486940453"/>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14" name="Immagine 1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739244787"/>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9" name="Immagine 8"/>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1290356717"/>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4" y="6297858"/>
            <a:ext cx="367181"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1104341304"/>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896600" y="6263019"/>
            <a:ext cx="897059" cy="402130"/>
          </a:xfrm>
          <a:prstGeom prst="rect">
            <a:avLst/>
          </a:prstGeom>
        </p:spPr>
      </p:pic>
    </p:spTree>
    <p:extLst>
      <p:ext uri="{BB962C8B-B14F-4D97-AF65-F5344CB8AC3E}">
        <p14:creationId xmlns:p14="http://schemas.microsoft.com/office/powerpoint/2010/main" val="4060982175"/>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182223245"/>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lvl1pPr>
              <a:defRPr/>
            </a:lvl1p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Univers Condensed" panose="020B050602020205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3304876307"/>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dirty="0">
                <a:latin typeface="Univers Condensed" panose="020B0506020202050204" pitchFamily="34" charset="0"/>
                <a:cs typeface="Arial" panose="020B0604020202020204" pitchFamily="34" charset="0"/>
              </a:rPr>
            </a:br>
            <a:r>
              <a:rPr lang="it-IT" sz="1600" dirty="0">
                <a:latin typeface="Univers Condensed" panose="020B050602020205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latin typeface="Univers Condensed" panose="020B0506020202050204" pitchFamily="34" charset="0"/>
              </a:rPr>
              <a:t>Grazie</a:t>
            </a:r>
          </a:p>
        </p:txBody>
      </p:sp>
      <p:pic>
        <p:nvPicPr>
          <p:cNvPr id="9" name="Immagine 8"/>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3268512167"/>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838200" y="677041"/>
            <a:ext cx="10515600" cy="701731"/>
          </a:xfrm>
          <a:noFill/>
        </p:spPr>
        <p:txBody>
          <a:bodyPr wrap="square" rtlCol="0">
            <a:spAutoFit/>
          </a:bodyPr>
          <a:lstStyle>
            <a:lvl1pPr>
              <a:defRPr lang="it-IT"/>
            </a:lvl1pPr>
          </a:lstStyle>
          <a:p>
            <a:pPr lvl="0" algn="l"/>
            <a:r>
              <a:rPr lang="it-IT" dirty="0"/>
              <a:t>Fare clic per modificare stile</a:t>
            </a:r>
          </a:p>
        </p:txBody>
      </p:sp>
      <p:sp>
        <p:nvSpPr>
          <p:cNvPr id="3" name="Segnaposto data 2"/>
          <p:cNvSpPr>
            <a:spLocks noGrp="1"/>
          </p:cNvSpPr>
          <p:nvPr>
            <p:ph type="dt" sz="half" idx="10"/>
          </p:nvPr>
        </p:nvSpPr>
        <p:spPr/>
        <p:txBody>
          <a:bodyPr/>
          <a:lstStyle>
            <a:lvl1pPr>
              <a:defRPr>
                <a:latin typeface="Univers Condensed" panose="020B0506020202050204" pitchFamily="34" charset="0"/>
              </a:defRPr>
            </a:lvl1pPr>
          </a:lstStyle>
          <a:p>
            <a:endParaRPr lang="it-IT"/>
          </a:p>
        </p:txBody>
      </p:sp>
      <p:sp>
        <p:nvSpPr>
          <p:cNvPr id="4" name="Segnaposto piè di pagina 3"/>
          <p:cNvSpPr>
            <a:spLocks noGrp="1"/>
          </p:cNvSpPr>
          <p:nvPr>
            <p:ph type="ftr" sz="quarter" idx="11"/>
          </p:nvPr>
        </p:nvSpPr>
        <p:spPr/>
        <p:txBody>
          <a:bodyPr/>
          <a:lstStyle>
            <a:lvl1pPr>
              <a:defRPr>
                <a:latin typeface="Univers Condensed" panose="020B0506020202050204" pitchFamily="34" charset="0"/>
              </a:defRPr>
            </a:lvl1pPr>
          </a:lstStyle>
          <a:p>
            <a:endParaRPr lang="it-IT"/>
          </a:p>
        </p:txBody>
      </p:sp>
      <p:sp>
        <p:nvSpPr>
          <p:cNvPr id="5" name="Segnaposto numero diapositiva 4"/>
          <p:cNvSpPr>
            <a:spLocks noGrp="1"/>
          </p:cNvSpPr>
          <p:nvPr>
            <p:ph type="sldNum" sz="quarter" idx="12"/>
          </p:nvPr>
        </p:nvSpPr>
        <p:spPr/>
        <p:txBody>
          <a:bodyPr/>
          <a:lstStyle>
            <a:lvl1pPr>
              <a:defRPr/>
            </a:lvl1pPr>
          </a:lstStyle>
          <a:p>
            <a:fld id="{2FC0DA8F-5333-404C-B1A3-89924F4629AA}" type="slidenum">
              <a:rPr lang="it-IT" smtClean="0"/>
              <a:pPr/>
              <a:t>‹N›</a:t>
            </a:fld>
            <a:endParaRPr lang="it-IT" dirty="0"/>
          </a:p>
        </p:txBody>
      </p:sp>
      <p:cxnSp>
        <p:nvCxnSpPr>
          <p:cNvPr id="10" name="Connettore 1 9"/>
          <p:cNvCxnSpPr/>
          <p:nvPr userDrawn="1"/>
        </p:nvCxnSpPr>
        <p:spPr>
          <a:xfrm>
            <a:off x="0" y="1220755"/>
            <a:ext cx="12192000" cy="0"/>
          </a:xfrm>
          <a:prstGeom prst="line">
            <a:avLst/>
          </a:prstGeom>
          <a:ln w="6350" cmpd="sng">
            <a:gradFill flip="none" rotWithShape="1">
              <a:gsLst>
                <a:gs pos="51000">
                  <a:schemeClr val="accent5"/>
                </a:gs>
                <a:gs pos="100000">
                  <a:schemeClr val="accent6"/>
                </a:gs>
                <a:gs pos="0">
                  <a:schemeClr val="accent6"/>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322107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Copertina BLU">
    <p:spTree>
      <p:nvGrpSpPr>
        <p:cNvPr id="1" name=""/>
        <p:cNvGrpSpPr/>
        <p:nvPr/>
      </p:nvGrpSpPr>
      <p:grpSpPr>
        <a:xfrm>
          <a:off x="0" y="0"/>
          <a:ext cx="0" cy="0"/>
          <a:chOff x="0" y="0"/>
          <a:chExt cx="0" cy="0"/>
        </a:xfrm>
      </p:grpSpPr>
      <p:sp>
        <p:nvSpPr>
          <p:cNvPr id="7" name="Segnaposto testo 2"/>
          <p:cNvSpPr>
            <a:spLocks noGrp="1"/>
          </p:cNvSpPr>
          <p:nvPr>
            <p:ph idx="1"/>
          </p:nvPr>
        </p:nvSpPr>
        <p:spPr>
          <a:xfrm>
            <a:off x="310086" y="3433234"/>
            <a:ext cx="10874479" cy="451405"/>
          </a:xfrm>
          <a:prstGeom prst="rect">
            <a:avLst/>
          </a:prstGeom>
          <a:noFill/>
        </p:spPr>
        <p:txBody>
          <a:bodyPr rtlCol="0"/>
          <a:lstStyle>
            <a:lvl1pPr algn="l">
              <a:defRPr>
                <a:solidFill>
                  <a:schemeClr val="accent3"/>
                </a:solidFill>
              </a:defRPr>
            </a:lvl1pPr>
          </a:lstStyle>
          <a:p>
            <a:pPr lvl="0"/>
            <a:r>
              <a:rPr lang="it-IT" dirty="0"/>
              <a:t>Fare clic per modificare gli stili del testo dello schema</a:t>
            </a:r>
          </a:p>
        </p:txBody>
      </p:sp>
      <p:sp>
        <p:nvSpPr>
          <p:cNvPr id="8" name="Segnaposto titolo 1"/>
          <p:cNvSpPr>
            <a:spLocks noGrp="1"/>
          </p:cNvSpPr>
          <p:nvPr>
            <p:ph type="title"/>
          </p:nvPr>
        </p:nvSpPr>
        <p:spPr>
          <a:xfrm>
            <a:off x="310085" y="2772411"/>
            <a:ext cx="10874480" cy="697627"/>
          </a:xfrm>
          <a:prstGeom prst="rect">
            <a:avLst/>
          </a:prstGeom>
          <a:noFill/>
        </p:spPr>
        <p:txBody>
          <a:bodyPr rtlCol="0"/>
          <a:lstStyle>
            <a:lvl1pPr algn="l">
              <a:defRPr>
                <a:solidFill>
                  <a:schemeClr val="tx1"/>
                </a:solidFill>
              </a:defRPr>
            </a:lvl1pPr>
          </a:lstStyle>
          <a:p>
            <a:pPr lvl="0"/>
            <a:r>
              <a:rPr lang="it-IT" dirty="0"/>
              <a:t>Fare clic per modificare stile</a:t>
            </a:r>
          </a:p>
        </p:txBody>
      </p:sp>
    </p:spTree>
    <p:extLst>
      <p:ext uri="{BB962C8B-B14F-4D97-AF65-F5344CB8AC3E}">
        <p14:creationId xmlns:p14="http://schemas.microsoft.com/office/powerpoint/2010/main" val="31090133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2BDFEE7-2DC8-1043-9CA6-E9A7F5CA8932}"/>
              </a:ext>
            </a:extLst>
          </p:cNvPr>
          <p:cNvSpPr>
            <a:spLocks noGrp="1"/>
          </p:cNvSpPr>
          <p:nvPr>
            <p:ph type="ctrTitle"/>
          </p:nvPr>
        </p:nvSpPr>
        <p:spPr>
          <a:xfrm>
            <a:off x="1524000" y="1122363"/>
            <a:ext cx="9144000" cy="2387600"/>
          </a:xfrm>
        </p:spPr>
        <p:txBody>
          <a:bodyPr anchor="b"/>
          <a:lstStyle>
            <a:lvl1pPr algn="ctr">
              <a:defRPr sz="6000"/>
            </a:lvl1pPr>
          </a:lstStyle>
          <a:p>
            <a:r>
              <a:rPr lang="it-IT" dirty="0"/>
              <a:t>Fare clic per modificare lo stile del titolo dello schema</a:t>
            </a:r>
          </a:p>
        </p:txBody>
      </p:sp>
      <p:sp>
        <p:nvSpPr>
          <p:cNvPr id="3" name="Sottotitolo 2">
            <a:extLst>
              <a:ext uri="{FF2B5EF4-FFF2-40B4-BE49-F238E27FC236}">
                <a16:creationId xmlns:a16="http://schemas.microsoft.com/office/drawing/2014/main" id="{341D5D76-D932-364D-A555-59C863709E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dirty="0"/>
              <a:t>Fare clic per modificare lo stile del sottotitolo dello schema</a:t>
            </a:r>
          </a:p>
        </p:txBody>
      </p:sp>
      <p:sp>
        <p:nvSpPr>
          <p:cNvPr id="4" name="Segnaposto data 3">
            <a:extLst>
              <a:ext uri="{FF2B5EF4-FFF2-40B4-BE49-F238E27FC236}">
                <a16:creationId xmlns:a16="http://schemas.microsoft.com/office/drawing/2014/main" id="{92D01014-8590-F340-BD77-67A880FB79CB}"/>
              </a:ext>
            </a:extLst>
          </p:cNvPr>
          <p:cNvSpPr>
            <a:spLocks noGrp="1"/>
          </p:cNvSpPr>
          <p:nvPr>
            <p:ph type="dt" sz="half" idx="10"/>
          </p:nvPr>
        </p:nvSpPr>
        <p:spPr/>
        <p:txBody>
          <a:bodyPr/>
          <a:lstStyle>
            <a:lvl1pPr>
              <a:defRPr>
                <a:latin typeface="Univers Condensed" panose="020B0506020202050204" pitchFamily="34" charset="0"/>
              </a:defRPr>
            </a:lvl1pPr>
          </a:lstStyle>
          <a:p>
            <a:endParaRPr lang="it-IT"/>
          </a:p>
        </p:txBody>
      </p:sp>
      <p:sp>
        <p:nvSpPr>
          <p:cNvPr id="5" name="Segnaposto piè di pagina 4">
            <a:extLst>
              <a:ext uri="{FF2B5EF4-FFF2-40B4-BE49-F238E27FC236}">
                <a16:creationId xmlns:a16="http://schemas.microsoft.com/office/drawing/2014/main" id="{C512E87E-82CC-BF47-BE0B-FD0E12607193}"/>
              </a:ext>
            </a:extLst>
          </p:cNvPr>
          <p:cNvSpPr>
            <a:spLocks noGrp="1"/>
          </p:cNvSpPr>
          <p:nvPr>
            <p:ph type="ftr" sz="quarter" idx="11"/>
          </p:nvPr>
        </p:nvSpPr>
        <p:spPr/>
        <p:txBody>
          <a:bodyPr/>
          <a:lstStyle>
            <a:lvl1pPr>
              <a:defRPr>
                <a:latin typeface="Univers Condensed" panose="020B0506020202050204" pitchFamily="34" charset="0"/>
              </a:defRPr>
            </a:lvl1pPr>
          </a:lstStyle>
          <a:p>
            <a:endParaRPr lang="it-IT"/>
          </a:p>
        </p:txBody>
      </p:sp>
      <p:sp>
        <p:nvSpPr>
          <p:cNvPr id="6" name="Segnaposto numero diapositiva 5">
            <a:extLst>
              <a:ext uri="{FF2B5EF4-FFF2-40B4-BE49-F238E27FC236}">
                <a16:creationId xmlns:a16="http://schemas.microsoft.com/office/drawing/2014/main" id="{11C107C3-5783-674D-8AC9-CF9DB2996492}"/>
              </a:ext>
            </a:extLst>
          </p:cNvPr>
          <p:cNvSpPr>
            <a:spLocks noGrp="1"/>
          </p:cNvSpPr>
          <p:nvPr>
            <p:ph type="sldNum" sz="quarter" idx="12"/>
          </p:nvPr>
        </p:nvSpPr>
        <p:spPr/>
        <p:txBody>
          <a:bodyPr/>
          <a:lstStyle>
            <a:lvl1pPr>
              <a:defRPr/>
            </a:lvl1pPr>
          </a:lstStyle>
          <a:p>
            <a:fld id="{0F70019E-2196-5449-A018-3CCD7DF09CE0}" type="slidenum">
              <a:rPr lang="it-IT" smtClean="0"/>
              <a:pPr/>
              <a:t>‹N›</a:t>
            </a:fld>
            <a:endParaRPr lang="it-IT" dirty="0"/>
          </a:p>
        </p:txBody>
      </p:sp>
    </p:spTree>
    <p:extLst>
      <p:ext uri="{BB962C8B-B14F-4D97-AF65-F5344CB8AC3E}">
        <p14:creationId xmlns:p14="http://schemas.microsoft.com/office/powerpoint/2010/main" val="337009177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Intestazione CERCHI">
    <p:spTree>
      <p:nvGrpSpPr>
        <p:cNvPr id="1" name=""/>
        <p:cNvGrpSpPr/>
        <p:nvPr/>
      </p:nvGrpSpPr>
      <p:grpSpPr>
        <a:xfrm>
          <a:off x="0" y="0"/>
          <a:ext cx="0" cy="0"/>
          <a:chOff x="0" y="0"/>
          <a:chExt cx="0" cy="0"/>
        </a:xfrm>
      </p:grpSpPr>
      <p:pic>
        <p:nvPicPr>
          <p:cNvPr id="4" name="Immagine 5"/>
          <p:cNvPicPr>
            <a:picLocks noChangeAspect="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0" y="12700"/>
            <a:ext cx="2592917" cy="88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ottotitolo 2"/>
          <p:cNvSpPr>
            <a:spLocks noGrp="1"/>
          </p:cNvSpPr>
          <p:nvPr>
            <p:ph type="subTitle" idx="1"/>
          </p:nvPr>
        </p:nvSpPr>
        <p:spPr>
          <a:xfrm>
            <a:off x="2987969" y="3464911"/>
            <a:ext cx="6288075" cy="697627"/>
          </a:xfrm>
        </p:spPr>
        <p:txBody>
          <a:bodyPr/>
          <a:lstStyle>
            <a:lvl1pPr marL="0" indent="0" algn="l">
              <a:buNone/>
              <a:defRPr sz="1867">
                <a:solidFill>
                  <a:schemeClr val="accent3"/>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it-IT" dirty="0"/>
              <a:t>Fare clic per modificare lo stile del sottotitolo dello schema</a:t>
            </a:r>
          </a:p>
        </p:txBody>
      </p:sp>
      <p:sp>
        <p:nvSpPr>
          <p:cNvPr id="9" name="Titolo 8"/>
          <p:cNvSpPr>
            <a:spLocks noGrp="1"/>
          </p:cNvSpPr>
          <p:nvPr>
            <p:ph type="title"/>
          </p:nvPr>
        </p:nvSpPr>
        <p:spPr>
          <a:xfrm>
            <a:off x="2987969" y="2792836"/>
            <a:ext cx="6288075" cy="533480"/>
          </a:xfrm>
        </p:spPr>
        <p:txBody>
          <a:bodyPr/>
          <a:lstStyle>
            <a:lvl1pPr algn="l">
              <a:defRPr sz="2667">
                <a:solidFill>
                  <a:schemeClr val="accent2"/>
                </a:solidFill>
              </a:defRPr>
            </a:lvl1pPr>
          </a:lstStyle>
          <a:p>
            <a:r>
              <a:rPr lang="it-IT" dirty="0"/>
              <a:t>Fare clic per modificare stile</a:t>
            </a:r>
          </a:p>
        </p:txBody>
      </p:sp>
    </p:spTree>
    <p:extLst>
      <p:ext uri="{BB962C8B-B14F-4D97-AF65-F5344CB8AC3E}">
        <p14:creationId xmlns:p14="http://schemas.microsoft.com/office/powerpoint/2010/main" val="933947085"/>
      </p:ext>
    </p:extLst>
  </p:cSld>
  <p:clrMapOvr>
    <a:overrideClrMapping bg1="lt1" tx1="dk1" bg2="lt2" tx2="dk2" accent1="accent1" accent2="accent2" accent3="accent3" accent4="accent4" accent5="accent5" accent6="accent6" hlink="hlink" folHlink="folHlink"/>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userDrawn="1">
  <p:cSld name="Pagina vuota BIANCA">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4535069"/>
      </p:ext>
    </p:extLst>
  </p:cSld>
  <p:clrMapOvr>
    <a:overrideClrMapping bg1="lt1" tx1="dk1" bg2="lt2" tx2="dk2" accent1="accent1" accent2="accent2" accent3="accent3" accent4="accent4" accent5="accent5" accent6="accent6" hlink="hlink" folHlink="folHlink"/>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Vu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482526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2BDFEE7-2DC8-1043-9CA6-E9A7F5CA8932}"/>
              </a:ext>
            </a:extLst>
          </p:cNvPr>
          <p:cNvSpPr>
            <a:spLocks noGrp="1"/>
          </p:cNvSpPr>
          <p:nvPr>
            <p:ph type="ctrTitle"/>
          </p:nvPr>
        </p:nvSpPr>
        <p:spPr>
          <a:xfrm>
            <a:off x="1524000" y="1122363"/>
            <a:ext cx="9144000" cy="2387600"/>
          </a:xfrm>
        </p:spPr>
        <p:txBody>
          <a:bodyPr anchor="b"/>
          <a:lstStyle>
            <a:lvl1pPr algn="ctr">
              <a:defRPr sz="6000"/>
            </a:lvl1pPr>
          </a:lstStyle>
          <a:p>
            <a:r>
              <a:rPr lang="it-IT" dirty="0"/>
              <a:t>Fare clic per modificare lo stile del titolo dello schema</a:t>
            </a:r>
          </a:p>
        </p:txBody>
      </p:sp>
      <p:sp>
        <p:nvSpPr>
          <p:cNvPr id="3" name="Sottotitolo 2">
            <a:extLst>
              <a:ext uri="{FF2B5EF4-FFF2-40B4-BE49-F238E27FC236}">
                <a16:creationId xmlns:a16="http://schemas.microsoft.com/office/drawing/2014/main" id="{341D5D76-D932-364D-A555-59C863709E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dirty="0"/>
              <a:t>Fare clic per modificare lo stile del sottotitolo dello schema</a:t>
            </a:r>
          </a:p>
        </p:txBody>
      </p:sp>
      <p:sp>
        <p:nvSpPr>
          <p:cNvPr id="4" name="Segnaposto data 3">
            <a:extLst>
              <a:ext uri="{FF2B5EF4-FFF2-40B4-BE49-F238E27FC236}">
                <a16:creationId xmlns:a16="http://schemas.microsoft.com/office/drawing/2014/main" id="{92D01014-8590-F340-BD77-67A880FB79CB}"/>
              </a:ext>
            </a:extLst>
          </p:cNvPr>
          <p:cNvSpPr>
            <a:spLocks noGrp="1"/>
          </p:cNvSpPr>
          <p:nvPr>
            <p:ph type="dt" sz="half" idx="10"/>
          </p:nvPr>
        </p:nvSpPr>
        <p:spPr/>
        <p:txBody>
          <a:bodyPr/>
          <a:lstStyle>
            <a:lvl1pPr>
              <a:defRPr>
                <a:latin typeface="Univers Condensed" panose="020B0506020202050204" pitchFamily="34" charset="0"/>
              </a:defRPr>
            </a:lvl1pPr>
          </a:lstStyle>
          <a:p>
            <a:endParaRPr lang="it-IT"/>
          </a:p>
        </p:txBody>
      </p:sp>
      <p:sp>
        <p:nvSpPr>
          <p:cNvPr id="5" name="Segnaposto piè di pagina 4">
            <a:extLst>
              <a:ext uri="{FF2B5EF4-FFF2-40B4-BE49-F238E27FC236}">
                <a16:creationId xmlns:a16="http://schemas.microsoft.com/office/drawing/2014/main" id="{C512E87E-82CC-BF47-BE0B-FD0E12607193}"/>
              </a:ext>
            </a:extLst>
          </p:cNvPr>
          <p:cNvSpPr>
            <a:spLocks noGrp="1"/>
          </p:cNvSpPr>
          <p:nvPr>
            <p:ph type="ftr" sz="quarter" idx="11"/>
          </p:nvPr>
        </p:nvSpPr>
        <p:spPr/>
        <p:txBody>
          <a:bodyPr/>
          <a:lstStyle>
            <a:lvl1pPr>
              <a:defRPr>
                <a:latin typeface="Univers Condensed" panose="020B0506020202050204" pitchFamily="34" charset="0"/>
              </a:defRPr>
            </a:lvl1pPr>
          </a:lstStyle>
          <a:p>
            <a:endParaRPr lang="it-IT"/>
          </a:p>
        </p:txBody>
      </p:sp>
      <p:sp>
        <p:nvSpPr>
          <p:cNvPr id="6" name="Segnaposto numero diapositiva 5">
            <a:extLst>
              <a:ext uri="{FF2B5EF4-FFF2-40B4-BE49-F238E27FC236}">
                <a16:creationId xmlns:a16="http://schemas.microsoft.com/office/drawing/2014/main" id="{11C107C3-5783-674D-8AC9-CF9DB2996492}"/>
              </a:ext>
            </a:extLst>
          </p:cNvPr>
          <p:cNvSpPr>
            <a:spLocks noGrp="1"/>
          </p:cNvSpPr>
          <p:nvPr>
            <p:ph type="sldNum" sz="quarter" idx="12"/>
          </p:nvPr>
        </p:nvSpPr>
        <p:spPr/>
        <p:txBody>
          <a:bodyPr/>
          <a:lstStyle>
            <a:lvl1pPr>
              <a:defRPr/>
            </a:lvl1pPr>
          </a:lstStyle>
          <a:p>
            <a:fld id="{0F70019E-2196-5449-A018-3CCD7DF09CE0}" type="slidenum">
              <a:rPr lang="it-IT" smtClean="0"/>
              <a:pPr/>
              <a:t>‹N›</a:t>
            </a:fld>
            <a:endParaRPr lang="it-IT" dirty="0"/>
          </a:p>
        </p:txBody>
      </p:sp>
    </p:spTree>
    <p:extLst>
      <p:ext uri="{BB962C8B-B14F-4D97-AF65-F5344CB8AC3E}">
        <p14:creationId xmlns:p14="http://schemas.microsoft.com/office/powerpoint/2010/main" val="183954137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Univers Condensed" panose="020B0506020202050204" pitchFamily="34" charset="0"/>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Univers Condensed" panose="020B0506020202050204" pitchFamily="34" charset="0"/>
                <a:ea typeface="+mn-ea"/>
                <a:cs typeface="+mn-cs"/>
              </a:defRPr>
            </a:lvl1pPr>
          </a:lstStyle>
          <a:p>
            <a:pPr lvl="0">
              <a:buNone/>
            </a:pPr>
            <a:r>
              <a:rPr lang="en-US" dirty="0"/>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Univers Condensed" panose="020B0506020202050204" pitchFamily="34" charset="0"/>
                <a:ea typeface="+mj-ea"/>
                <a:cs typeface="+mj-cs"/>
              </a:defRPr>
            </a:lvl1pPr>
          </a:lstStyle>
          <a:p>
            <a:pPr marL="0" lvl="0" indent="0">
              <a:lnSpc>
                <a:spcPct val="110000"/>
              </a:lnSpc>
              <a:spcBef>
                <a:spcPts val="600"/>
              </a:spcBef>
              <a:spcAft>
                <a:spcPts val="300"/>
              </a:spcAft>
              <a:buFont typeface="Arial" panose="020B0604020202020204" pitchFamily="34" charset="0"/>
            </a:pPr>
            <a:r>
              <a:rPr lang="en-US" dirty="0"/>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200530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3356841042"/>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3987945033"/>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3691996898"/>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4" y="6297858"/>
            <a:ext cx="367181"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445772261"/>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96600" y="6263019"/>
            <a:ext cx="897059" cy="402130"/>
          </a:xfrm>
          <a:prstGeom prst="rect">
            <a:avLst/>
          </a:prstGeom>
        </p:spPr>
      </p:pic>
    </p:spTree>
    <p:extLst>
      <p:ext uri="{BB962C8B-B14F-4D97-AF65-F5344CB8AC3E}">
        <p14:creationId xmlns:p14="http://schemas.microsoft.com/office/powerpoint/2010/main" val="2031050084"/>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Univers Condensed" panose="020B0506020202050204" pitchFamily="34" charset="0"/>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Univers Condensed" panose="020B0506020202050204" pitchFamily="34" charset="0"/>
                <a:ea typeface="+mn-ea"/>
                <a:cs typeface="+mn-cs"/>
              </a:defRPr>
            </a:lvl1pPr>
          </a:lstStyle>
          <a:p>
            <a:pPr lvl="0">
              <a:buNone/>
            </a:pPr>
            <a:r>
              <a:rPr lang="en-US" dirty="0"/>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Univers Condensed" panose="020B0506020202050204" pitchFamily="34" charset="0"/>
                <a:ea typeface="+mj-ea"/>
                <a:cs typeface="+mj-cs"/>
              </a:defRPr>
            </a:lvl1pPr>
          </a:lstStyle>
          <a:p>
            <a:pPr marL="0" lvl="0" indent="0">
              <a:lnSpc>
                <a:spcPct val="110000"/>
              </a:lnSpc>
              <a:spcBef>
                <a:spcPts val="600"/>
              </a:spcBef>
              <a:spcAft>
                <a:spcPts val="300"/>
              </a:spcAft>
              <a:buFont typeface="Arial" panose="020B0604020202020204" pitchFamily="34" charset="0"/>
            </a:pPr>
            <a:r>
              <a:rPr lang="en-US" dirty="0"/>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3427748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613749321"/>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lvl1pPr>
              <a:defRPr/>
            </a:lvl1p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Univers Condensed" panose="020B050602020205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936644677"/>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1833244985"/>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838200" y="677041"/>
            <a:ext cx="10515600" cy="701731"/>
          </a:xfrm>
          <a:noFill/>
        </p:spPr>
        <p:txBody>
          <a:bodyPr wrap="square" rtlCol="0">
            <a:spAutoFit/>
          </a:bodyPr>
          <a:lstStyle>
            <a:lvl1pPr>
              <a:defRPr lang="it-IT"/>
            </a:lvl1pPr>
          </a:lstStyle>
          <a:p>
            <a:pPr lvl="0" algn="l"/>
            <a:r>
              <a:rPr lang="it-IT" dirty="0"/>
              <a:t>Fare clic per modificare stile</a:t>
            </a:r>
          </a:p>
        </p:txBody>
      </p:sp>
      <p:sp>
        <p:nvSpPr>
          <p:cNvPr id="3" name="Segnaposto data 2"/>
          <p:cNvSpPr>
            <a:spLocks noGrp="1"/>
          </p:cNvSpPr>
          <p:nvPr>
            <p:ph type="dt" sz="half" idx="10"/>
          </p:nvPr>
        </p:nvSpPr>
        <p:spPr/>
        <p:txBody>
          <a:bodyPr/>
          <a:lstStyle>
            <a:lvl1pPr>
              <a:defRPr>
                <a:latin typeface="Univers Condensed" panose="020B0506020202050204" pitchFamily="34" charset="0"/>
              </a:defRPr>
            </a:lvl1pPr>
          </a:lstStyle>
          <a:p>
            <a:endParaRPr lang="it-IT"/>
          </a:p>
        </p:txBody>
      </p:sp>
      <p:sp>
        <p:nvSpPr>
          <p:cNvPr id="4" name="Segnaposto piè di pagina 3"/>
          <p:cNvSpPr>
            <a:spLocks noGrp="1"/>
          </p:cNvSpPr>
          <p:nvPr>
            <p:ph type="ftr" sz="quarter" idx="11"/>
          </p:nvPr>
        </p:nvSpPr>
        <p:spPr/>
        <p:txBody>
          <a:bodyPr/>
          <a:lstStyle>
            <a:lvl1pPr>
              <a:defRPr>
                <a:latin typeface="Univers Condensed" panose="020B0506020202050204" pitchFamily="34" charset="0"/>
              </a:defRPr>
            </a:lvl1pPr>
          </a:lstStyle>
          <a:p>
            <a:endParaRPr lang="it-IT"/>
          </a:p>
        </p:txBody>
      </p:sp>
      <p:sp>
        <p:nvSpPr>
          <p:cNvPr id="5" name="Segnaposto numero diapositiva 4"/>
          <p:cNvSpPr>
            <a:spLocks noGrp="1"/>
          </p:cNvSpPr>
          <p:nvPr>
            <p:ph type="sldNum" sz="quarter" idx="12"/>
          </p:nvPr>
        </p:nvSpPr>
        <p:spPr/>
        <p:txBody>
          <a:bodyPr/>
          <a:lstStyle>
            <a:lvl1pPr>
              <a:defRPr/>
            </a:lvl1pPr>
          </a:lstStyle>
          <a:p>
            <a:fld id="{2FC0DA8F-5333-404C-B1A3-89924F4629AA}" type="slidenum">
              <a:rPr lang="it-IT" smtClean="0"/>
              <a:pPr/>
              <a:t>‹N›</a:t>
            </a:fld>
            <a:endParaRPr lang="it-IT" dirty="0"/>
          </a:p>
        </p:txBody>
      </p:sp>
      <p:cxnSp>
        <p:nvCxnSpPr>
          <p:cNvPr id="10" name="Connettore 1 9"/>
          <p:cNvCxnSpPr/>
          <p:nvPr userDrawn="1"/>
        </p:nvCxnSpPr>
        <p:spPr>
          <a:xfrm>
            <a:off x="0" y="1220755"/>
            <a:ext cx="12192000" cy="0"/>
          </a:xfrm>
          <a:prstGeom prst="line">
            <a:avLst/>
          </a:prstGeom>
          <a:ln w="6350" cmpd="sng">
            <a:gradFill flip="none" rotWithShape="1">
              <a:gsLst>
                <a:gs pos="51000">
                  <a:schemeClr val="accent5"/>
                </a:gs>
                <a:gs pos="100000">
                  <a:schemeClr val="accent6"/>
                </a:gs>
                <a:gs pos="0">
                  <a:schemeClr val="accent6"/>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4704961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Copertina BLU">
    <p:spTree>
      <p:nvGrpSpPr>
        <p:cNvPr id="1" name=""/>
        <p:cNvGrpSpPr/>
        <p:nvPr/>
      </p:nvGrpSpPr>
      <p:grpSpPr>
        <a:xfrm>
          <a:off x="0" y="0"/>
          <a:ext cx="0" cy="0"/>
          <a:chOff x="0" y="0"/>
          <a:chExt cx="0" cy="0"/>
        </a:xfrm>
      </p:grpSpPr>
      <p:sp>
        <p:nvSpPr>
          <p:cNvPr id="7" name="Segnaposto testo 2"/>
          <p:cNvSpPr>
            <a:spLocks noGrp="1"/>
          </p:cNvSpPr>
          <p:nvPr>
            <p:ph idx="1"/>
          </p:nvPr>
        </p:nvSpPr>
        <p:spPr>
          <a:xfrm>
            <a:off x="310086" y="3433234"/>
            <a:ext cx="10874479" cy="451405"/>
          </a:xfrm>
          <a:prstGeom prst="rect">
            <a:avLst/>
          </a:prstGeom>
          <a:noFill/>
        </p:spPr>
        <p:txBody>
          <a:bodyPr rtlCol="0"/>
          <a:lstStyle>
            <a:lvl1pPr algn="l">
              <a:defRPr>
                <a:solidFill>
                  <a:schemeClr val="accent3"/>
                </a:solidFill>
              </a:defRPr>
            </a:lvl1pPr>
          </a:lstStyle>
          <a:p>
            <a:pPr lvl="0"/>
            <a:r>
              <a:rPr lang="it-IT" dirty="0"/>
              <a:t>Fare clic per modificare gli stili del testo dello schema</a:t>
            </a:r>
          </a:p>
        </p:txBody>
      </p:sp>
      <p:sp>
        <p:nvSpPr>
          <p:cNvPr id="8" name="Segnaposto titolo 1"/>
          <p:cNvSpPr>
            <a:spLocks noGrp="1"/>
          </p:cNvSpPr>
          <p:nvPr>
            <p:ph type="title"/>
          </p:nvPr>
        </p:nvSpPr>
        <p:spPr>
          <a:xfrm>
            <a:off x="310085" y="2772411"/>
            <a:ext cx="10874480" cy="697627"/>
          </a:xfrm>
          <a:prstGeom prst="rect">
            <a:avLst/>
          </a:prstGeom>
          <a:noFill/>
        </p:spPr>
        <p:txBody>
          <a:bodyPr rtlCol="0"/>
          <a:lstStyle>
            <a:lvl1pPr algn="l">
              <a:defRPr>
                <a:solidFill>
                  <a:schemeClr val="tx1"/>
                </a:solidFill>
              </a:defRPr>
            </a:lvl1pPr>
          </a:lstStyle>
          <a:p>
            <a:pPr lvl="0"/>
            <a:r>
              <a:rPr lang="it-IT" dirty="0"/>
              <a:t>Fare clic per modificare stile</a:t>
            </a:r>
          </a:p>
        </p:txBody>
      </p:sp>
    </p:spTree>
    <p:extLst>
      <p:ext uri="{BB962C8B-B14F-4D97-AF65-F5344CB8AC3E}">
        <p14:creationId xmlns:p14="http://schemas.microsoft.com/office/powerpoint/2010/main" val="424867888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userDrawn="1">
  <p:cSld name="1_Intestazione CERCHI">
    <p:spTree>
      <p:nvGrpSpPr>
        <p:cNvPr id="1" name=""/>
        <p:cNvGrpSpPr/>
        <p:nvPr/>
      </p:nvGrpSpPr>
      <p:grpSpPr>
        <a:xfrm>
          <a:off x="0" y="0"/>
          <a:ext cx="0" cy="0"/>
          <a:chOff x="0" y="0"/>
          <a:chExt cx="0" cy="0"/>
        </a:xfrm>
      </p:grpSpPr>
      <p:pic>
        <p:nvPicPr>
          <p:cNvPr id="4" name="Immagine 5"/>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2700"/>
            <a:ext cx="2592917" cy="88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ottotitolo 2"/>
          <p:cNvSpPr>
            <a:spLocks noGrp="1"/>
          </p:cNvSpPr>
          <p:nvPr>
            <p:ph type="subTitle" idx="1"/>
          </p:nvPr>
        </p:nvSpPr>
        <p:spPr>
          <a:xfrm>
            <a:off x="2987969" y="3464911"/>
            <a:ext cx="6288075" cy="697627"/>
          </a:xfrm>
        </p:spPr>
        <p:txBody>
          <a:bodyPr/>
          <a:lstStyle>
            <a:lvl1pPr marL="0" indent="0" algn="l">
              <a:buNone/>
              <a:defRPr sz="1867">
                <a:solidFill>
                  <a:schemeClr val="accent3"/>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it-IT" dirty="0"/>
              <a:t>Fare clic per modificare lo stile del sottotitolo dello schema</a:t>
            </a:r>
          </a:p>
        </p:txBody>
      </p:sp>
      <p:sp>
        <p:nvSpPr>
          <p:cNvPr id="9" name="Titolo 8"/>
          <p:cNvSpPr>
            <a:spLocks noGrp="1"/>
          </p:cNvSpPr>
          <p:nvPr>
            <p:ph type="title"/>
          </p:nvPr>
        </p:nvSpPr>
        <p:spPr>
          <a:xfrm>
            <a:off x="2987969" y="2792836"/>
            <a:ext cx="6288075" cy="533480"/>
          </a:xfrm>
        </p:spPr>
        <p:txBody>
          <a:bodyPr/>
          <a:lstStyle>
            <a:lvl1pPr algn="l">
              <a:defRPr sz="2667">
                <a:solidFill>
                  <a:schemeClr val="accent2"/>
                </a:solidFill>
              </a:defRPr>
            </a:lvl1pPr>
          </a:lstStyle>
          <a:p>
            <a:r>
              <a:rPr lang="it-IT" dirty="0"/>
              <a:t>Fare clic per modificare stile</a:t>
            </a:r>
          </a:p>
        </p:txBody>
      </p:sp>
    </p:spTree>
    <p:extLst>
      <p:ext uri="{BB962C8B-B14F-4D97-AF65-F5344CB8AC3E}">
        <p14:creationId xmlns:p14="http://schemas.microsoft.com/office/powerpoint/2010/main" val="370755535"/>
      </p:ext>
    </p:extLst>
  </p:cSld>
  <p:clrMapOvr>
    <a:overrideClrMapping bg1="lt1" tx1="dk1" bg2="lt2" tx2="dk2" accent1="accent1" accent2="accent2" accent3="accent3" accent4="accent4" accent5="accent5" accent6="accent6" hlink="hlink" folHlink="folHlink"/>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userDrawn="1">
  <p:cSld name="Pagina vuota BIANCA">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0741424"/>
      </p:ext>
    </p:extLst>
  </p:cSld>
  <p:clrMapOvr>
    <a:overrideClrMapping bg1="lt1" tx1="dk1" bg2="lt2" tx2="dk2" accent1="accent1" accent2="accent2" accent3="accent3" accent4="accent4" accent5="accent5" accent6="accent6" hlink="hlink" folHlink="folHlink"/>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Vu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745134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2BDFEE7-2DC8-1043-9CA6-E9A7F5CA8932}"/>
              </a:ext>
            </a:extLst>
          </p:cNvPr>
          <p:cNvSpPr>
            <a:spLocks noGrp="1"/>
          </p:cNvSpPr>
          <p:nvPr>
            <p:ph type="ctrTitle"/>
          </p:nvPr>
        </p:nvSpPr>
        <p:spPr>
          <a:xfrm>
            <a:off x="1524000" y="1122363"/>
            <a:ext cx="9144000" cy="2387600"/>
          </a:xfrm>
        </p:spPr>
        <p:txBody>
          <a:bodyPr anchor="b"/>
          <a:lstStyle>
            <a:lvl1pPr algn="ctr">
              <a:defRPr sz="6000"/>
            </a:lvl1pPr>
          </a:lstStyle>
          <a:p>
            <a:r>
              <a:rPr lang="it-IT" dirty="0"/>
              <a:t>Fare clic per modificare lo stile del titolo dello schema</a:t>
            </a:r>
          </a:p>
        </p:txBody>
      </p:sp>
      <p:sp>
        <p:nvSpPr>
          <p:cNvPr id="3" name="Sottotitolo 2">
            <a:extLst>
              <a:ext uri="{FF2B5EF4-FFF2-40B4-BE49-F238E27FC236}">
                <a16:creationId xmlns:a16="http://schemas.microsoft.com/office/drawing/2014/main" id="{341D5D76-D932-364D-A555-59C863709E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dirty="0"/>
              <a:t>Fare clic per modificare lo stile del sottotitolo dello schema</a:t>
            </a:r>
          </a:p>
        </p:txBody>
      </p:sp>
      <p:sp>
        <p:nvSpPr>
          <p:cNvPr id="4" name="Segnaposto data 3">
            <a:extLst>
              <a:ext uri="{FF2B5EF4-FFF2-40B4-BE49-F238E27FC236}">
                <a16:creationId xmlns:a16="http://schemas.microsoft.com/office/drawing/2014/main" id="{92D01014-8590-F340-BD77-67A880FB79CB}"/>
              </a:ext>
            </a:extLst>
          </p:cNvPr>
          <p:cNvSpPr>
            <a:spLocks noGrp="1"/>
          </p:cNvSpPr>
          <p:nvPr>
            <p:ph type="dt" sz="half" idx="10"/>
          </p:nvPr>
        </p:nvSpPr>
        <p:spPr/>
        <p:txBody>
          <a:bodyPr/>
          <a:lstStyle>
            <a:lvl1pPr>
              <a:defRPr>
                <a:latin typeface="Univers Condensed" panose="020B0506020202050204" pitchFamily="34" charset="0"/>
              </a:defRPr>
            </a:lvl1pPr>
          </a:lstStyle>
          <a:p>
            <a:endParaRPr lang="it-IT"/>
          </a:p>
        </p:txBody>
      </p:sp>
      <p:sp>
        <p:nvSpPr>
          <p:cNvPr id="5" name="Segnaposto piè di pagina 4">
            <a:extLst>
              <a:ext uri="{FF2B5EF4-FFF2-40B4-BE49-F238E27FC236}">
                <a16:creationId xmlns:a16="http://schemas.microsoft.com/office/drawing/2014/main" id="{C512E87E-82CC-BF47-BE0B-FD0E12607193}"/>
              </a:ext>
            </a:extLst>
          </p:cNvPr>
          <p:cNvSpPr>
            <a:spLocks noGrp="1"/>
          </p:cNvSpPr>
          <p:nvPr>
            <p:ph type="ftr" sz="quarter" idx="11"/>
          </p:nvPr>
        </p:nvSpPr>
        <p:spPr/>
        <p:txBody>
          <a:bodyPr/>
          <a:lstStyle>
            <a:lvl1pPr>
              <a:defRPr>
                <a:latin typeface="Univers Condensed" panose="020B0506020202050204" pitchFamily="34" charset="0"/>
              </a:defRPr>
            </a:lvl1pPr>
          </a:lstStyle>
          <a:p>
            <a:endParaRPr lang="it-IT"/>
          </a:p>
        </p:txBody>
      </p:sp>
      <p:sp>
        <p:nvSpPr>
          <p:cNvPr id="6" name="Segnaposto numero diapositiva 5">
            <a:extLst>
              <a:ext uri="{FF2B5EF4-FFF2-40B4-BE49-F238E27FC236}">
                <a16:creationId xmlns:a16="http://schemas.microsoft.com/office/drawing/2014/main" id="{11C107C3-5783-674D-8AC9-CF9DB2996492}"/>
              </a:ext>
            </a:extLst>
          </p:cNvPr>
          <p:cNvSpPr>
            <a:spLocks noGrp="1"/>
          </p:cNvSpPr>
          <p:nvPr>
            <p:ph type="sldNum" sz="quarter" idx="12"/>
          </p:nvPr>
        </p:nvSpPr>
        <p:spPr/>
        <p:txBody>
          <a:bodyPr/>
          <a:lstStyle>
            <a:lvl1pPr>
              <a:defRPr/>
            </a:lvl1pPr>
          </a:lstStyle>
          <a:p>
            <a:fld id="{0F70019E-2196-5449-A018-3CCD7DF09CE0}" type="slidenum">
              <a:rPr lang="it-IT" smtClean="0"/>
              <a:pPr/>
              <a:t>‹N›</a:t>
            </a:fld>
            <a:endParaRPr lang="it-IT" dirty="0"/>
          </a:p>
        </p:txBody>
      </p:sp>
    </p:spTree>
    <p:extLst>
      <p:ext uri="{BB962C8B-B14F-4D97-AF65-F5344CB8AC3E}">
        <p14:creationId xmlns:p14="http://schemas.microsoft.com/office/powerpoint/2010/main" val="165649202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Univers Condensed" panose="020B0506020202050204" pitchFamily="34" charset="0"/>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Univers Condensed" panose="020B0506020202050204" pitchFamily="34" charset="0"/>
                <a:ea typeface="+mn-ea"/>
                <a:cs typeface="+mn-cs"/>
              </a:defRPr>
            </a:lvl1pPr>
          </a:lstStyle>
          <a:p>
            <a:pPr lvl="0">
              <a:buNone/>
            </a:pPr>
            <a:r>
              <a:rPr lang="en-US" dirty="0"/>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Univers Condensed" panose="020B0506020202050204" pitchFamily="34" charset="0"/>
                <a:ea typeface="+mj-ea"/>
                <a:cs typeface="+mj-cs"/>
              </a:defRPr>
            </a:lvl1pPr>
          </a:lstStyle>
          <a:p>
            <a:pPr marL="0" lvl="0" indent="0">
              <a:lnSpc>
                <a:spcPct val="110000"/>
              </a:lnSpc>
              <a:spcBef>
                <a:spcPts val="600"/>
              </a:spcBef>
              <a:spcAft>
                <a:spcPts val="300"/>
              </a:spcAft>
              <a:buFont typeface="Arial" panose="020B0604020202020204" pitchFamily="34" charset="0"/>
            </a:pPr>
            <a:r>
              <a:rPr lang="en-US" dirty="0"/>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3715223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5" name="Immagine 4">
            <a:extLst>
              <a:ext uri="{FF2B5EF4-FFF2-40B4-BE49-F238E27FC236}">
                <a16:creationId xmlns:a16="http://schemas.microsoft.com/office/drawing/2014/main" id="{4FFDA71E-E720-4505-6EDA-DA267E0322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212888" y="6345683"/>
            <a:ext cx="879326" cy="394181"/>
          </a:xfrm>
          <a:prstGeom prst="rect">
            <a:avLst/>
          </a:prstGeom>
        </p:spPr>
      </p:pic>
    </p:spTree>
    <p:extLst>
      <p:ext uri="{BB962C8B-B14F-4D97-AF65-F5344CB8AC3E}">
        <p14:creationId xmlns:p14="http://schemas.microsoft.com/office/powerpoint/2010/main" val="212970484"/>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977273162"/>
              </p:ex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Diapositiva think-cell" r:id="rId4" imgW="384" imgH="384" progId="TCLayout.ActiveDocument.1">
                  <p:embed/>
                </p:oleObj>
              </mc:Choice>
              <mc:Fallback>
                <p:oleObj name="Diapositiva think-cell" r:id="rId4" imgW="384" imgH="384"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mn-lt"/>
                <a:ea typeface="+mn-ea"/>
                <a:cs typeface="+mn-cs"/>
              </a:defRPr>
            </a:lvl1pPr>
          </a:lstStyle>
          <a:p>
            <a:pPr lvl="0">
              <a:buNone/>
            </a:pPr>
            <a:r>
              <a:rPr lang="en-US"/>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mj-lt"/>
                <a:ea typeface="+mj-ea"/>
                <a:cs typeface="+mj-cs"/>
              </a:defRPr>
            </a:lvl1pPr>
          </a:lstStyle>
          <a:p>
            <a:pPr marL="0" lvl="0" indent="0">
              <a:lnSpc>
                <a:spcPct val="110000"/>
              </a:lnSpc>
              <a:spcBef>
                <a:spcPts val="600"/>
              </a:spcBef>
              <a:spcAft>
                <a:spcPts val="300"/>
              </a:spcAft>
              <a:buFont typeface="Arial" panose="020B0604020202020204" pitchFamily="34" charset="0"/>
            </a:pPr>
            <a:r>
              <a:rPr lang="en-US"/>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
        <p:nvSpPr>
          <p:cNvPr id="5" name="Segnaposto contenuto 4">
            <a:extLst>
              <a:ext uri="{FF2B5EF4-FFF2-40B4-BE49-F238E27FC236}">
                <a16:creationId xmlns:a16="http://schemas.microsoft.com/office/drawing/2014/main" id="{D6E9888D-3D72-F95D-92A9-3A93D6F44DBA}"/>
              </a:ext>
            </a:extLst>
          </p:cNvPr>
          <p:cNvSpPr>
            <a:spLocks noGrp="1"/>
          </p:cNvSpPr>
          <p:nvPr>
            <p:ph sz="quarter" idx="10"/>
          </p:nvPr>
        </p:nvSpPr>
        <p:spPr>
          <a:xfrm>
            <a:off x="2489200" y="1557338"/>
            <a:ext cx="914400" cy="91440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4560895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28BCD9-012A-4F1F-8069-A17A18D8F39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B228BCD9-012A-4F1F-8069-A17A18D8F39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atin typeface="+mn-lt"/>
                <a:ea typeface="+mn-ea"/>
                <a:cs typeface="+mn-cs"/>
              </a:defRPr>
            </a:lvl1pPr>
          </a:lstStyle>
          <a:p>
            <a:pPr lvl="0"/>
            <a:r>
              <a:rPr lang="it-IT"/>
              <a:t>Titolo del divisore</a:t>
            </a:r>
          </a:p>
        </p:txBody>
      </p:sp>
    </p:spTree>
    <p:extLst>
      <p:ext uri="{BB962C8B-B14F-4D97-AF65-F5344CB8AC3E}">
        <p14:creationId xmlns:p14="http://schemas.microsoft.com/office/powerpoint/2010/main" val="15002903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449B9B-FACD-4727-BA73-A9FF5557485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06449B9B-FACD-4727-BA73-A9FF5557485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5" y="1409528"/>
            <a:ext cx="11523133" cy="4612389"/>
          </a:xfrm>
        </p:spPr>
        <p:txBody>
          <a:bodyPr vert="horz" lIns="0" tIns="0" rIns="0" bIns="0" anchor="t" anchorCtr="0">
            <a:normAutofit/>
          </a:bodyPr>
          <a:lstStyle>
            <a:lvl1pPr algn="l">
              <a:lnSpc>
                <a:spcPct val="100000"/>
              </a:lnSpc>
              <a:defRPr sz="5867" b="0" i="0" baseline="0">
                <a:solidFill>
                  <a:srgbClr val="415064"/>
                </a:solidFill>
                <a:latin typeface="+mj-lt"/>
                <a:ea typeface="+mj-ea"/>
                <a:cs typeface="+mj-cs"/>
              </a:defRPr>
            </a:lvl1pPr>
          </a:lstStyle>
          <a:p>
            <a:r>
              <a:rPr lang="en-US"/>
              <a:t>Call-out è una slide con un testo grande da usare per evidenziare dei concetti chiave che devono risaltare all’interno della presentazione.</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a:latin typeface="+mn-lt"/>
              <a:ea typeface="+mn-ea"/>
              <a:cs typeface="+mn-cs"/>
            </a:endParaRPr>
          </a:p>
        </p:txBody>
      </p:sp>
      <p:sp>
        <p:nvSpPr>
          <p:cNvPr id="19" name="Text Placeholder 2">
            <a:extLst>
              <a:ext uri="{FF2B5EF4-FFF2-40B4-BE49-F238E27FC236}">
                <a16:creationId xmlns:a16="http://schemas.microsoft.com/office/drawing/2014/main" id="{0A0BB9B2-6C38-4093-8504-884F38372103}"/>
              </a:ext>
            </a:extLst>
          </p:cNvPr>
          <p:cNvSpPr>
            <a:spLocks noGrp="1" noChangeAspect="1"/>
          </p:cNvSpPr>
          <p:nvPr>
            <p:ph type="body" idx="14"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 che può essere facoltativo</a:t>
            </a:r>
          </a:p>
        </p:txBody>
      </p:sp>
    </p:spTree>
    <p:extLst>
      <p:ext uri="{BB962C8B-B14F-4D97-AF65-F5344CB8AC3E}">
        <p14:creationId xmlns:p14="http://schemas.microsoft.com/office/powerpoint/2010/main" val="30299538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0FB6A6-9725-43DF-9FC0-EA978426B97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060FB6A6-9725-43DF-9FC0-EA978426B97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536000"/>
            <a:ext cx="11523135" cy="4485917"/>
          </a:xfrm>
        </p:spPr>
        <p:txBody>
          <a:bodyPr vert="horz" lIns="0" tIns="0" rIns="0" bIns="0" anchor="t" anchorCtr="0">
            <a:normAutofit/>
          </a:bodyPr>
          <a:lstStyle>
            <a:lvl1pPr algn="l">
              <a:lnSpc>
                <a:spcPct val="100000"/>
              </a:lnSpc>
              <a:spcBef>
                <a:spcPts val="800"/>
              </a:spcBef>
              <a:spcAft>
                <a:spcPts val="800"/>
              </a:spcAft>
              <a:defRPr sz="1867" b="0" i="0" baseline="0">
                <a:solidFill>
                  <a:srgbClr val="415064"/>
                </a:solidFill>
                <a:latin typeface="+mj-lt"/>
                <a:ea typeface="+mj-ea"/>
                <a:cs typeface="+mj-cs"/>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sed do </a:t>
            </a:r>
            <a:r>
              <a:rPr lang="it-IT" dirty="0" err="1"/>
              <a:t>eiusmod</a:t>
            </a:r>
            <a:r>
              <a:rPr lang="it-IT" dirty="0"/>
              <a:t> </a:t>
            </a:r>
            <a:r>
              <a:rPr lang="it-IT" dirty="0" err="1"/>
              <a:t>tempor</a:t>
            </a:r>
            <a:r>
              <a:rPr lang="it-IT" dirty="0"/>
              <a:t> incidi </a:t>
            </a:r>
            <a:r>
              <a:rPr lang="it-IT" dirty="0" err="1"/>
              <a:t>dunt</a:t>
            </a:r>
            <a:r>
              <a:rPr lang="it-IT" dirty="0"/>
              <a:t> ut labore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 </a:t>
            </a:r>
            <a:endParaRPr lang="en-US"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3611830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70CF785-3F04-4678-8A07-538FAC323D6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970CF785-3F04-4678-8A07-538FAC323D6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sz="2667">
                <a:latin typeface="+mn-lt"/>
                <a:ea typeface="+mn-ea"/>
                <a:cs typeface="+mn-cs"/>
              </a:defRPr>
            </a:lvl1pPr>
          </a:lstStyle>
          <a:p>
            <a:r>
              <a:rPr lang="en-US"/>
              <a:t>Click icon to add picture</a:t>
            </a:r>
            <a:endParaRPr lang="it-IT"/>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6" y="1536000"/>
            <a:ext cx="4224867" cy="4485885"/>
          </a:xfrm>
        </p:spPr>
        <p:txBody>
          <a:bodyPr vert="horz" lIns="0" tIns="0" rIns="0" bIns="0" anchor="t" anchorCtr="0">
            <a:normAutofit/>
          </a:bodyPr>
          <a:lstStyle>
            <a:lvl1pPr algn="l">
              <a:lnSpc>
                <a:spcPct val="100000"/>
              </a:lnSpc>
              <a:spcBef>
                <a:spcPts val="800"/>
              </a:spcBef>
              <a:spcAft>
                <a:spcPts val="800"/>
              </a:spcAft>
              <a:defRPr sz="1867" b="0" i="0">
                <a:solidFill>
                  <a:srgbClr val="415064"/>
                </a:solidFill>
                <a:latin typeface="+mj-lt"/>
                <a:ea typeface="+mj-ea"/>
                <a:cs typeface="+mj-cs"/>
              </a:defRPr>
            </a:lvl1pPr>
          </a:lstStyle>
          <a:p>
            <a:r>
              <a:rPr lang="it-IT"/>
              <a:t>Testo lorem ipsum dolor sit amet, consectetur adipiscing elit, sed do eiusmod tempor incidi dunt ut labore et dolore magna aliqua. Ut enim ad minim veniam, quis nostrud exercitation ullamco laboris nisi ut aliquip ex ea commodo consequat. </a:t>
            </a:r>
            <a:endParaRPr lang="en-US"/>
          </a:p>
        </p:txBody>
      </p:sp>
      <p:sp>
        <p:nvSpPr>
          <p:cNvPr id="15" name="Segnaposto testo 5">
            <a:extLst>
              <a:ext uri="{FF2B5EF4-FFF2-40B4-BE49-F238E27FC236}">
                <a16:creationId xmlns:a16="http://schemas.microsoft.com/office/drawing/2014/main" id="{4EB3E0BB-2190-4650-88B3-F10349CF0E84}"/>
              </a:ext>
            </a:extLst>
          </p:cNvPr>
          <p:cNvSpPr>
            <a:spLocks noGrp="1"/>
          </p:cNvSpPr>
          <p:nvPr>
            <p:ph type="body" sz="quarter" idx="15" hasCustomPrompt="1"/>
          </p:nvPr>
        </p:nvSpPr>
        <p:spPr>
          <a:xfrm>
            <a:off x="334433" y="797859"/>
            <a:ext cx="8593667" cy="383116"/>
          </a:xfrm>
        </p:spPr>
        <p:txBody>
          <a:bodyPr lIns="0" tIns="0" rIns="0" bIns="0" anchor="t">
            <a:noAutofit/>
          </a:bodyPr>
          <a:lstStyle>
            <a:lvl1pPr marL="0" indent="0">
              <a:buNone/>
              <a:defRPr sz="2133">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31521723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0F2CDA2-5409-453C-8EBB-E65669BDC17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50F2CDA2-5409-453C-8EBB-E65669BDC17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20"/>
            <a:ext cx="8593667" cy="383115"/>
          </a:xfrm>
        </p:spPr>
        <p:txBody>
          <a:bodyPr lIns="0" tIns="0" rIns="0" bIns="0" anchor="t" anchorCtr="0">
            <a:norm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5" y="3429001"/>
            <a:ext cx="3395133" cy="2285337"/>
          </a:xfrm>
          <a:prstGeom prst="rect">
            <a:avLst/>
          </a:prstGeom>
        </p:spPr>
        <p:txBody>
          <a:bodyPr vert="horz" wrap="none" lIns="121920" tIns="60960" rIns="121920" bIns="60960" rtlCol="0" anchor="b">
            <a:normAutofit/>
          </a:bodyPr>
          <a:lstStyle/>
          <a:p>
            <a:pPr algn="l"/>
            <a:endParaRPr lang="it-IT" sz="2400" b="0" i="0">
              <a:latin typeface="+mn-lt"/>
              <a:ea typeface="+mn-ea"/>
              <a:cs typeface="+mn-cs"/>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5" y="1532966"/>
            <a:ext cx="2734733" cy="4488953"/>
          </a:xfrm>
        </p:spPr>
        <p:txBody>
          <a:bodyPr vert="horz" lIns="0" tIns="0" rIns="0" bIns="0" anchor="b" anchorCtr="0">
            <a:noAutofit/>
          </a:bodyPr>
          <a:lstStyle>
            <a:lvl1pPr algn="l">
              <a:lnSpc>
                <a:spcPct val="100000"/>
              </a:lnSpc>
              <a:defRPr sz="1333" b="0" i="0" baseline="0">
                <a:solidFill>
                  <a:srgbClr val="415064"/>
                </a:solidFill>
                <a:latin typeface="+mj-lt"/>
                <a:ea typeface="+mj-ea"/>
                <a:cs typeface="+mj-cs"/>
              </a:defRPr>
            </a:lvl1pPr>
          </a:lstStyle>
          <a:p>
            <a:r>
              <a:rPr lang="it-IT"/>
              <a:t>Testo lorem ipsum dolor sit amet, consectetur adipiscing elit, sed do eiusmod tempor incidi dunt ut labore et dolore magna aliqua. Ut enim ad minim veniam, quis nostrud exercitation ullamco laboris nisi ut aliquip ex ea commodo consequat. </a:t>
            </a:r>
            <a:endParaRPr lang="en-US"/>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6"/>
            <a:ext cx="8593667" cy="4517804"/>
          </a:xfrm>
        </p:spPr>
        <p:txBody>
          <a:bodyPr lIns="91440" tIns="45720" rIns="91440" bIns="45720"/>
          <a:lstStyle>
            <a:lvl1pPr marL="231637" indent="-231637">
              <a:lnSpc>
                <a:spcPct val="90000"/>
              </a:lnSpc>
              <a:spcBef>
                <a:spcPts val="1053"/>
              </a:spcBef>
              <a:spcAft>
                <a:spcPts val="0"/>
              </a:spcAft>
              <a:buFont typeface="Arial" panose="020B0604020202020204" pitchFamily="34" charset="0"/>
              <a:buChar char="•"/>
              <a:defRPr sz="2667">
                <a:latin typeface="+mn-lt"/>
                <a:ea typeface="+mn-ea"/>
                <a:cs typeface="+mn-cs"/>
              </a:defRPr>
            </a:lvl1pPr>
          </a:lstStyle>
          <a:p>
            <a:r>
              <a:rPr lang="en-US"/>
              <a:t>Click icon to add chart</a:t>
            </a:r>
            <a:endParaRPr lang="it-IT"/>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5"/>
            <a:ext cx="8593667" cy="374649"/>
          </a:xfrm>
        </p:spPr>
        <p:txBody>
          <a:bodyPr lIns="0" tIns="0" rIns="0" bIns="0"/>
          <a:lstStyle>
            <a:lvl1pPr marL="0" indent="0">
              <a:buNone/>
              <a:defRPr lang="it-IT" sz="2133" b="0" i="0" kern="1200" dirty="0">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27420492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B006113-DBA0-41EC-ACE3-6EBAF5AD006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0B006113-DBA0-41EC-ACE3-6EBAF5AD006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1" name="Title 10">
            <a:extLst>
              <a:ext uri="{FF2B5EF4-FFF2-40B4-BE49-F238E27FC236}">
                <a16:creationId xmlns:a16="http://schemas.microsoft.com/office/drawing/2014/main" id="{94E758CF-94C2-44F9-BBF9-9D816C20EEE2}"/>
              </a:ext>
            </a:extLst>
          </p:cNvPr>
          <p:cNvSpPr>
            <a:spLocks noGrp="1"/>
          </p:cNvSpPr>
          <p:nvPr>
            <p:ph type="title" hasCustomPrompt="1"/>
          </p:nvPr>
        </p:nvSpPr>
        <p:spPr>
          <a:xfrm>
            <a:off x="334435" y="357719"/>
            <a:ext cx="11523132" cy="443199"/>
          </a:xfrm>
        </p:spPr>
        <p:txBody>
          <a:bodyPr vert="horz">
            <a:spAutoFit/>
          </a:bodyPr>
          <a:lstStyle>
            <a:lvl1pPr>
              <a:defRPr sz="3200">
                <a:latin typeface="+mj-lt"/>
                <a:ea typeface="+mj-ea"/>
                <a:cs typeface="+mj-cs"/>
              </a:defRPr>
            </a:lvl1pPr>
          </a:lstStyle>
          <a:p>
            <a:r>
              <a:rPr lang="en-US"/>
              <a:t>Click to add title</a:t>
            </a:r>
          </a:p>
        </p:txBody>
      </p:sp>
    </p:spTree>
    <p:extLst>
      <p:ext uri="{BB962C8B-B14F-4D97-AF65-F5344CB8AC3E}">
        <p14:creationId xmlns:p14="http://schemas.microsoft.com/office/powerpoint/2010/main" val="1698057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7F156A-10D0-435D-95B1-D7768F29813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617F156A-10D0-435D-95B1-D7768F29813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334435" y="2085629"/>
            <a:ext cx="11523132" cy="3909819"/>
          </a:xfrm>
        </p:spPr>
        <p:txBody>
          <a:bodyPr/>
          <a:lstStyle>
            <a:lvl1pPr>
              <a:lnSpc>
                <a:spcPct val="100000"/>
              </a:lnSpc>
              <a:spcBef>
                <a:spcPts val="0"/>
              </a:spcBef>
              <a:spcAft>
                <a:spcPts val="0"/>
              </a:spcAft>
              <a:defRPr sz="2133">
                <a:latin typeface="+mn-lt"/>
                <a:ea typeface="+mn-ea"/>
                <a:cs typeface="+mn-cs"/>
              </a:defRPr>
            </a:lvl1pPr>
            <a:lvl2pPr>
              <a:lnSpc>
                <a:spcPct val="100000"/>
              </a:lnSpc>
              <a:spcBef>
                <a:spcPts val="0"/>
              </a:spcBef>
              <a:spcAft>
                <a:spcPts val="0"/>
              </a:spcAft>
              <a:defRPr sz="2133">
                <a:latin typeface="+mn-lt"/>
                <a:ea typeface="+mn-ea"/>
                <a:cs typeface="+mn-cs"/>
              </a:defRPr>
            </a:lvl2pPr>
            <a:lvl3pPr>
              <a:lnSpc>
                <a:spcPct val="100000"/>
              </a:lnSpc>
              <a:spcBef>
                <a:spcPts val="0"/>
              </a:spcBef>
              <a:spcAft>
                <a:spcPts val="0"/>
              </a:spcAft>
              <a:defRPr sz="2133">
                <a:latin typeface="+mn-lt"/>
                <a:ea typeface="+mn-ea"/>
                <a:cs typeface="+mn-cs"/>
              </a:defRPr>
            </a:lvl3pPr>
            <a:lvl4pPr>
              <a:lnSpc>
                <a:spcPct val="100000"/>
              </a:lnSpc>
              <a:spcBef>
                <a:spcPts val="0"/>
              </a:spcBef>
              <a:spcAft>
                <a:spcPts val="0"/>
              </a:spcAft>
              <a:defRPr sz="2933">
                <a:latin typeface="+mn-lt"/>
                <a:ea typeface="+mn-ea"/>
                <a:cs typeface="+mn-cs"/>
              </a:defRPr>
            </a:lvl4pPr>
            <a:lvl5pPr>
              <a:lnSpc>
                <a:spcPct val="100000"/>
              </a:lnSpc>
              <a:spcBef>
                <a:spcPts val="0"/>
              </a:spcBef>
              <a:spcAft>
                <a:spcPts val="0"/>
              </a:spcAft>
              <a:defRPr sz="2933">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Title 5">
            <a:extLst>
              <a:ext uri="{FF2B5EF4-FFF2-40B4-BE49-F238E27FC236}">
                <a16:creationId xmlns:a16="http://schemas.microsoft.com/office/drawing/2014/main" id="{A3FD7911-66D3-4E34-96AB-00957A8447AD}"/>
              </a:ext>
            </a:extLst>
          </p:cNvPr>
          <p:cNvSpPr>
            <a:spLocks noGrp="1"/>
          </p:cNvSpPr>
          <p:nvPr>
            <p:ph type="title" hasCustomPrompt="1"/>
          </p:nvPr>
        </p:nvSpPr>
        <p:spPr>
          <a:xfrm>
            <a:off x="334435" y="357719"/>
            <a:ext cx="11523132" cy="443199"/>
          </a:xfrm>
        </p:spPr>
        <p:txBody>
          <a:bodyPr vert="horz">
            <a:spAutoFit/>
          </a:bodyPr>
          <a:lstStyle>
            <a:lvl1pPr>
              <a:defRPr sz="3200">
                <a:latin typeface="+mj-lt"/>
                <a:ea typeface="+mj-ea"/>
                <a:cs typeface="+mj-cs"/>
              </a:defRPr>
            </a:lvl1pPr>
          </a:lstStyle>
          <a:p>
            <a:r>
              <a:rPr lang="en-US"/>
              <a:t>Click to add title</a:t>
            </a:r>
          </a:p>
        </p:txBody>
      </p:sp>
    </p:spTree>
    <p:extLst>
      <p:ext uri="{BB962C8B-B14F-4D97-AF65-F5344CB8AC3E}">
        <p14:creationId xmlns:p14="http://schemas.microsoft.com/office/powerpoint/2010/main" val="31073420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D32218-E21A-4B8F-82D3-F0E90770E85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8ED32218-E21A-4B8F-82D3-F0E90770E85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endParaRPr>
          </a:p>
        </p:txBody>
      </p:sp>
      <p:sp>
        <p:nvSpPr>
          <p:cNvPr id="9" name="Title 1"/>
          <p:cNvSpPr>
            <a:spLocks noGrp="1"/>
          </p:cNvSpPr>
          <p:nvPr>
            <p:ph type="title" hasCustomPrompt="1"/>
          </p:nvPr>
        </p:nvSpPr>
        <p:spPr bwMode="ltGray">
          <a:xfrm>
            <a:off x="334435" y="1544273"/>
            <a:ext cx="3747967" cy="1495795"/>
          </a:xfrm>
          <a:noFill/>
        </p:spPr>
        <p:txBody>
          <a:bodyPr vert="horz" wrap="square" lIns="0" tIns="0" rIns="320040" bIns="0" anchor="b">
            <a:noAutofit/>
          </a:bodyPr>
          <a:lstStyle>
            <a:lvl1pPr>
              <a:defRPr sz="3200">
                <a:solidFill>
                  <a:schemeClr val="tx2"/>
                </a:solidFill>
                <a:latin typeface="+mj-lt"/>
                <a:ea typeface="+mj-ea"/>
                <a:cs typeface="+mj-cs"/>
              </a:defRPr>
            </a:lvl1pPr>
          </a:lstStyle>
          <a:p>
            <a:r>
              <a:rPr lang="en-US"/>
              <a:t>Click to add title</a:t>
            </a:r>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2" name="Slide Number Placeholder 5">
            <a:extLst>
              <a:ext uri="{FF2B5EF4-FFF2-40B4-BE49-F238E27FC236}">
                <a16:creationId xmlns:a16="http://schemas.microsoft.com/office/drawing/2014/main" id="{88557A02-CCA7-4F09-BE51-852DA504575B}"/>
              </a:ext>
            </a:extLst>
          </p:cNvPr>
          <p:cNvSpPr txBox="1">
            <a:spLocks/>
          </p:cNvSpPr>
          <p:nvPr userDrawn="1"/>
        </p:nvSpPr>
        <p:spPr>
          <a:xfrm>
            <a:off x="226857" y="6378542"/>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9934224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768A506-D0B4-43FD-9497-666B8AE23B5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6" name="Object 5" hidden="1">
                        <a:extLst>
                          <a:ext uri="{FF2B5EF4-FFF2-40B4-BE49-F238E27FC236}">
                            <a16:creationId xmlns:a16="http://schemas.microsoft.com/office/drawing/2014/main" id="{3768A506-D0B4-43FD-9497-666B8AE23B5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334435" y="2668041"/>
            <a:ext cx="11523132" cy="3201027"/>
          </a:xfrm>
          <a:prstGeom prst="rect">
            <a:avLst/>
          </a:prstGeom>
          <a:ln w="9525">
            <a:solidFill>
              <a:schemeClr val="bg1"/>
            </a:solidFill>
          </a:ln>
        </p:spPr>
        <p:txBody>
          <a:bodyPr vert="horz" lIns="274320" tIns="274320" rIns="274320" bIns="137160"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9" name="Rectangle 58"/>
          <p:cNvSpPr/>
          <p:nvPr userDrawn="1"/>
        </p:nvSpPr>
        <p:spPr bwMode="white">
          <a:xfrm>
            <a:off x="33443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pic>
        <p:nvPicPr>
          <p:cNvPr id="13" name="Immagine 8">
            <a:extLst>
              <a:ext uri="{FF2B5EF4-FFF2-40B4-BE49-F238E27FC236}">
                <a16:creationId xmlns:a16="http://schemas.microsoft.com/office/drawing/2014/main" id="{AED9DF1D-C1FE-4813-B7EE-98EF56F03C0B}"/>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330659E2-875D-4FB2-A116-7F7D15932E89}"/>
              </a:ext>
            </a:extLst>
          </p:cNvPr>
          <p:cNvSpPr txBox="1">
            <a:spLocks/>
          </p:cNvSpPr>
          <p:nvPr userDrawn="1"/>
        </p:nvSpPr>
        <p:spPr>
          <a:xfrm>
            <a:off x="334433" y="6306825"/>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5412501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800599" y="311390"/>
            <a:ext cx="4016120" cy="307905"/>
          </a:xfrm>
        </p:spPr>
        <p:txBody>
          <a:bodyPr lIns="0" tIns="0" rIns="0" bIns="0"/>
          <a:lstStyle>
            <a:lvl1pPr>
              <a:defRPr sz="2001" b="0" i="0">
                <a:solidFill>
                  <a:schemeClr val="bg1"/>
                </a:solidFill>
                <a:latin typeface="Georgia"/>
                <a:cs typeface="Georgia"/>
              </a:defRPr>
            </a:lvl1pPr>
          </a:lstStyle>
          <a:p>
            <a:endParaRPr/>
          </a:p>
        </p:txBody>
      </p:sp>
      <p:sp>
        <p:nvSpPr>
          <p:cNvPr id="3" name="Holder 3"/>
          <p:cNvSpPr>
            <a:spLocks noGrp="1"/>
          </p:cNvSpPr>
          <p:nvPr>
            <p:ph type="body" idx="1"/>
          </p:nvPr>
        </p:nvSpPr>
        <p:spPr>
          <a:xfrm>
            <a:off x="804844" y="1291168"/>
            <a:ext cx="9576072" cy="307905"/>
          </a:xfrm>
        </p:spPr>
        <p:txBody>
          <a:bodyPr lIns="0" tIns="0" rIns="0" bIns="0"/>
          <a:lstStyle>
            <a:lvl1pPr>
              <a:defRPr sz="2001" b="1" i="1">
                <a:solidFill>
                  <a:schemeClr val="bg1"/>
                </a:solidFill>
                <a:latin typeface="Univers Condensed" panose="020B0506020202050204" pitchFamily="34" charset="0"/>
                <a:cs typeface="Arial"/>
              </a:defRPr>
            </a:lvl1pPr>
          </a:lstStyle>
          <a:p>
            <a:endParaRPr dirty="0"/>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F91E6114-F1E1-46AA-9898-0A669512DFD9}" type="datetime1">
              <a:rPr lang="en-US" smtClean="0"/>
              <a:t>2/19/2026</a:t>
            </a:fld>
            <a:endParaRPr lang="en-US"/>
          </a:p>
        </p:txBody>
      </p:sp>
      <p:sp>
        <p:nvSpPr>
          <p:cNvPr id="6" name="Holder 6"/>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155502129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BFDC08-059E-44B0-9E18-4ED303A0CFC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57BFDC08-059E-44B0-9E18-4ED303A0CFC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334435" y="3826800"/>
            <a:ext cx="11232367" cy="2041200"/>
          </a:xfrm>
        </p:spPr>
        <p:txBody>
          <a:bodyPr vert="horz" anchor="t">
            <a:noAutofit/>
          </a:bodyPr>
          <a:lstStyle>
            <a:lvl1pPr>
              <a:defRPr sz="5333">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334436" y="3680016"/>
            <a:ext cx="11860769"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Immagine 8">
            <a:extLst>
              <a:ext uri="{FF2B5EF4-FFF2-40B4-BE49-F238E27FC236}">
                <a16:creationId xmlns:a16="http://schemas.microsoft.com/office/drawing/2014/main" id="{87E6D5E0-2CAB-47EF-AFE5-355D9CFA258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1" name="Slide Number Placeholder 5">
            <a:extLst>
              <a:ext uri="{FF2B5EF4-FFF2-40B4-BE49-F238E27FC236}">
                <a16:creationId xmlns:a16="http://schemas.microsoft.com/office/drawing/2014/main" id="{26FD2180-13A8-4635-B248-947CD3903491}"/>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592955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8120B9-7ED2-44C7-AF9B-533E79AE7FF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C38120B9-7ED2-44C7-AF9B-533E79AE7FF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4064997" y="0"/>
            <a:ext cx="416951" cy="6858000"/>
          </a:xfrm>
          <a:prstGeom prst="rect">
            <a:avLst/>
          </a:prstGeom>
        </p:spPr>
      </p:pic>
      <p:sp>
        <p:nvSpPr>
          <p:cNvPr id="2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6" name="Rectangle 25"/>
          <p:cNvSpPr/>
          <p:nvPr userDrawn="1"/>
        </p:nvSpPr>
        <p:spPr bwMode="white">
          <a:xfrm>
            <a:off x="2"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320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2" name="Immagine 8">
            <a:extLst>
              <a:ext uri="{FF2B5EF4-FFF2-40B4-BE49-F238E27FC236}">
                <a16:creationId xmlns:a16="http://schemas.microsoft.com/office/drawing/2014/main" id="{FFBAC688-DD1D-4FC3-9453-EB40FD2E509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C7C0CC3C-048F-45D4-BE35-9C33EFE3888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3361066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84365A-F2BC-4145-A8B0-C17EA9D6C42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7784365A-F2BC-4145-A8B0-C17EA9D6C42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7165609" y="0"/>
            <a:ext cx="416951" cy="6858000"/>
          </a:xfrm>
          <a:prstGeom prst="rect">
            <a:avLst/>
          </a:prstGeom>
        </p:spPr>
      </p:pic>
      <p:sp>
        <p:nvSpPr>
          <p:cNvPr id="13" name="Rectangle 12"/>
          <p:cNvSpPr/>
          <p:nvPr userDrawn="1"/>
        </p:nvSpPr>
        <p:spPr bwMode="white">
          <a:xfrm>
            <a:off x="2"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5">
            <a:extLst>
              <a:ext uri="{FF2B5EF4-FFF2-40B4-BE49-F238E27FC236}">
                <a16:creationId xmlns:a16="http://schemas.microsoft.com/office/drawing/2014/main" id="{2E2F6E00-2FD8-4E08-B226-BA66A794EB32}"/>
              </a:ext>
            </a:extLst>
          </p:cNvPr>
          <p:cNvSpPr>
            <a:spLocks noGrp="1"/>
          </p:cNvSpPr>
          <p:nvPr>
            <p:ph type="title" hasCustomPrompt="1"/>
          </p:nvPr>
        </p:nvSpPr>
        <p:spPr>
          <a:xfrm>
            <a:off x="334435" y="357719"/>
            <a:ext cx="6552367" cy="443199"/>
          </a:xfrm>
        </p:spPr>
        <p:txBody>
          <a:bodyPr vert="horz">
            <a:spAutoFit/>
          </a:bodyPr>
          <a:lstStyle>
            <a:lvl1pPr>
              <a:defRPr sz="3200">
                <a:latin typeface="+mj-lt"/>
                <a:ea typeface="+mj-ea"/>
                <a:cs typeface="+mj-cs"/>
              </a:defRPr>
            </a:lvl1pPr>
          </a:lstStyle>
          <a:p>
            <a:r>
              <a:rPr lang="en-US"/>
              <a:t>Click to add title</a:t>
            </a:r>
          </a:p>
        </p:txBody>
      </p:sp>
      <p:pic>
        <p:nvPicPr>
          <p:cNvPr id="19" name="Immagine 8">
            <a:extLst>
              <a:ext uri="{FF2B5EF4-FFF2-40B4-BE49-F238E27FC236}">
                <a16:creationId xmlns:a16="http://schemas.microsoft.com/office/drawing/2014/main" id="{CEE6D001-89C4-476B-A257-631996281B3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21" name="Slide Number Placeholder 5">
            <a:extLst>
              <a:ext uri="{FF2B5EF4-FFF2-40B4-BE49-F238E27FC236}">
                <a16:creationId xmlns:a16="http://schemas.microsoft.com/office/drawing/2014/main" id="{EDEB9651-94F9-4C62-80E6-2F7CF2D3DD3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222411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2361674-FA8D-4E7D-A0B1-BDA5C27985B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62361674-FA8D-4E7D-A0B1-BDA5C27985B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11"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32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7" name="Immagine 8">
            <a:extLst>
              <a:ext uri="{FF2B5EF4-FFF2-40B4-BE49-F238E27FC236}">
                <a16:creationId xmlns:a16="http://schemas.microsoft.com/office/drawing/2014/main" id="{FF8287E1-5CE5-4AF7-AC45-E2D39835AB8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C98F3EAE-4F98-4558-8672-C0EF47A7C77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50451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B3AF2B-C75C-4A79-AC78-2FA47A8D7CC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90B3AF2B-C75C-4A79-AC78-2FA47A8D7CC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5689585"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67"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334435" y="1785600"/>
            <a:ext cx="4683967" cy="3286800"/>
          </a:xfrm>
          <a:prstGeom prst="rect">
            <a:avLst/>
          </a:prstGeom>
          <a:noFill/>
        </p:spPr>
        <p:txBody>
          <a:bodyPr vert="horz" wrap="square" lIns="0" tIns="0" rIns="320040" bIns="0"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8" name="Immagine 8">
            <a:extLst>
              <a:ext uri="{FF2B5EF4-FFF2-40B4-BE49-F238E27FC236}">
                <a16:creationId xmlns:a16="http://schemas.microsoft.com/office/drawing/2014/main" id="{ACAF9153-8037-4CC7-B9B1-AE9B5F5F33F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615659" y="6137080"/>
            <a:ext cx="1066064" cy="477891"/>
          </a:xfrm>
          <a:prstGeom prst="rect">
            <a:avLst/>
          </a:prstGeom>
        </p:spPr>
      </p:pic>
      <p:sp>
        <p:nvSpPr>
          <p:cNvPr id="19" name="Slide Number Placeholder 5">
            <a:extLst>
              <a:ext uri="{FF2B5EF4-FFF2-40B4-BE49-F238E27FC236}">
                <a16:creationId xmlns:a16="http://schemas.microsoft.com/office/drawing/2014/main" id="{389B99E6-02EC-474A-80B7-12E7578481C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140074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533DE73-17BF-42C8-A740-46AAFAE7D62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533DE73-17BF-42C8-A740-46AAFAE7D62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7409851" y="0"/>
            <a:ext cx="416951" cy="6858000"/>
          </a:xfrm>
          <a:prstGeom prst="rect">
            <a:avLst/>
          </a:prstGeom>
        </p:spPr>
      </p:pic>
      <p:sp>
        <p:nvSpPr>
          <p:cNvPr id="10" name="Rectangle 9"/>
          <p:cNvSpPr/>
          <p:nvPr userDrawn="1"/>
        </p:nvSpPr>
        <p:spPr bwMode="gray">
          <a:xfrm>
            <a:off x="7819546"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3" y="3917291"/>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4" name="Title 1"/>
          <p:cNvSpPr>
            <a:spLocks noGrp="1"/>
          </p:cNvSpPr>
          <p:nvPr>
            <p:ph type="title" hasCustomPrompt="1"/>
          </p:nvPr>
        </p:nvSpPr>
        <p:spPr bwMode="blackWhite">
          <a:xfrm>
            <a:off x="334435" y="1804651"/>
            <a:ext cx="6543119" cy="3286800"/>
          </a:xfrm>
          <a:prstGeom prst="rect">
            <a:avLst/>
          </a:prstGeom>
        </p:spPr>
        <p:txBody>
          <a:bodyPr vert="horz"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edit title</a:t>
            </a:r>
          </a:p>
        </p:txBody>
      </p:sp>
      <p:pic>
        <p:nvPicPr>
          <p:cNvPr id="17" name="Immagine 8">
            <a:extLst>
              <a:ext uri="{FF2B5EF4-FFF2-40B4-BE49-F238E27FC236}">
                <a16:creationId xmlns:a16="http://schemas.microsoft.com/office/drawing/2014/main" id="{DEA3A845-F4D4-4EF4-B7C6-7DDB008ED3B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F6579EFC-B6C4-4D39-A4C2-B2AFEA51AA8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5749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FC9755C-7D14-4E35-A462-8F3BE66D5B3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DFC9755C-7D14-4E35-A462-8F3BE66D5B3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7" name="Title 2"/>
          <p:cNvSpPr>
            <a:spLocks noGrp="1"/>
          </p:cNvSpPr>
          <p:nvPr>
            <p:ph type="title" hasCustomPrompt="1"/>
          </p:nvPr>
        </p:nvSpPr>
        <p:spPr>
          <a:xfrm>
            <a:off x="334435" y="2764206"/>
            <a:ext cx="2774205" cy="1314311"/>
          </a:xfrm>
          <a:prstGeom prst="rect">
            <a:avLst/>
          </a:prstGeom>
        </p:spPr>
        <p:txBody>
          <a:bodyPr vert="horz" anchor="ctr">
            <a:noAutofit/>
          </a:bodyPr>
          <a:lstStyle>
            <a:lvl1pPr>
              <a:defRPr sz="3200" baseline="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Immagine 8">
            <a:extLst>
              <a:ext uri="{FF2B5EF4-FFF2-40B4-BE49-F238E27FC236}">
                <a16:creationId xmlns:a16="http://schemas.microsoft.com/office/drawing/2014/main" id="{49DAF236-0BF0-48B4-84D3-4FB03F34DE3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96740C5E-8FC4-4B23-9FC4-B4836E6F0CF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864857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5A794A-96F4-480E-9632-C38560C5FB9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E05A794A-96F4-480E-9632-C38560C5FB9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334435" y="2764206"/>
            <a:ext cx="2774205" cy="1314311"/>
          </a:xfrm>
        </p:spPr>
        <p:txBody>
          <a:bodyPr vert="horz" anchor="ctr" anchorCtr="0">
            <a:noAutofit/>
          </a:bodyPr>
          <a:lstStyle>
            <a:lvl1pPr>
              <a:defRPr sz="3200" baseline="0">
                <a:solidFill>
                  <a:srgbClr val="FFFFFF"/>
                </a:solidFill>
                <a:latin typeface="+mj-lt"/>
                <a:ea typeface="+mj-ea"/>
                <a:cs typeface="+mj-cs"/>
              </a:defRPr>
            </a:lvl1pPr>
          </a:lstStyle>
          <a:p>
            <a:r>
              <a:rPr lang="en-US"/>
              <a:t>Click to add title</a:t>
            </a: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Immagine 8">
            <a:extLst>
              <a:ext uri="{FF2B5EF4-FFF2-40B4-BE49-F238E27FC236}">
                <a16:creationId xmlns:a16="http://schemas.microsoft.com/office/drawing/2014/main" id="{2A3F10D3-2047-4B38-944C-B650FC084DA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7" name="Slide Number Placeholder 5">
            <a:extLst>
              <a:ext uri="{FF2B5EF4-FFF2-40B4-BE49-F238E27FC236}">
                <a16:creationId xmlns:a16="http://schemas.microsoft.com/office/drawing/2014/main" id="{7F21979A-0E50-4DE6-B794-2FE52497234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676665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24" imgH="324" progId="TCLayout.ActiveDocument.1">
                  <p:embed/>
                </p:oleObj>
              </mc:Choice>
              <mc:Fallback>
                <p:oleObj name="Diapositiva think-cell"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6" name="Immagine 8">
            <a:extLst>
              <a:ext uri="{FF2B5EF4-FFF2-40B4-BE49-F238E27FC236}">
                <a16:creationId xmlns:a16="http://schemas.microsoft.com/office/drawing/2014/main" id="{88D9F09F-8579-4783-AA87-AFBE6DFDF56F}"/>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7" name="Slide Number Placeholder 5">
            <a:extLst>
              <a:ext uri="{FF2B5EF4-FFF2-40B4-BE49-F238E27FC236}">
                <a16:creationId xmlns:a16="http://schemas.microsoft.com/office/drawing/2014/main" id="{5761DB7C-A7F2-4789-AE27-C0716BBD5C3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11138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1D5A0A-4317-423C-B146-45AF97C418D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21D5A0A-4317-423C-B146-45AF97C418D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5" name="Immagine 8">
            <a:extLst>
              <a:ext uri="{FF2B5EF4-FFF2-40B4-BE49-F238E27FC236}">
                <a16:creationId xmlns:a16="http://schemas.microsoft.com/office/drawing/2014/main" id="{91DC7840-09B6-4910-BA26-5E02DF74722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9F67104F-059A-456A-961C-53D2C28AD831}"/>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965543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Univers Condensed" panose="020B0506020202050204" pitchFamily="34" charset="0"/>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Univers Condensed" panose="020B0506020202050204" pitchFamily="34" charset="0"/>
                <a:ea typeface="+mn-ea"/>
                <a:cs typeface="+mn-cs"/>
              </a:defRPr>
            </a:lvl1pPr>
          </a:lstStyle>
          <a:p>
            <a:pPr lvl="0">
              <a:buNone/>
            </a:pPr>
            <a:r>
              <a:rPr lang="en-US" dirty="0"/>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Univers Condensed" panose="020B0506020202050204" pitchFamily="34" charset="0"/>
                <a:ea typeface="+mj-ea"/>
                <a:cs typeface="+mj-cs"/>
              </a:defRPr>
            </a:lvl1pPr>
          </a:lstStyle>
          <a:p>
            <a:pPr marL="0" lvl="0" indent="0">
              <a:lnSpc>
                <a:spcPct val="110000"/>
              </a:lnSpc>
              <a:spcBef>
                <a:spcPts val="600"/>
              </a:spcBef>
              <a:spcAft>
                <a:spcPts val="300"/>
              </a:spcAft>
              <a:buFont typeface="Arial" panose="020B0604020202020204" pitchFamily="34" charset="0"/>
            </a:pPr>
            <a:r>
              <a:rPr lang="en-US" dirty="0"/>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30498640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13D55E-8FAC-4815-B635-65B454A2F1B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013D55E-8FAC-4815-B635-65B454A2F1B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4" name="Pentagon 8"/>
          <p:cNvSpPr/>
          <p:nvPr userDrawn="1"/>
        </p:nvSpPr>
        <p:spPr bwMode="white">
          <a:xfrm>
            <a:off x="1" y="0"/>
            <a:ext cx="636354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30D63D7A-D695-45C9-8D0F-526D4E8A412C}"/>
              </a:ext>
            </a:extLst>
          </p:cNvPr>
          <p:cNvSpPr>
            <a:spLocks noGrp="1"/>
          </p:cNvSpPr>
          <p:nvPr>
            <p:ph type="title" hasCustomPrompt="1"/>
          </p:nvPr>
        </p:nvSpPr>
        <p:spPr>
          <a:xfrm>
            <a:off x="334435" y="357719"/>
            <a:ext cx="4969213" cy="443199"/>
          </a:xfrm>
        </p:spPr>
        <p:txBody>
          <a:bodyPr vert="horz"/>
          <a:lstStyle>
            <a:lvl1pPr>
              <a:defRPr sz="3200">
                <a:latin typeface="+mj-lt"/>
                <a:ea typeface="+mj-ea"/>
                <a:cs typeface="+mj-cs"/>
              </a:defRPr>
            </a:lvl1pPr>
          </a:lstStyle>
          <a:p>
            <a:r>
              <a:rPr lang="en-US"/>
              <a:t>Click to add title</a:t>
            </a:r>
          </a:p>
        </p:txBody>
      </p:sp>
      <p:pic>
        <p:nvPicPr>
          <p:cNvPr id="19" name="Immagine 8">
            <a:extLst>
              <a:ext uri="{FF2B5EF4-FFF2-40B4-BE49-F238E27FC236}">
                <a16:creationId xmlns:a16="http://schemas.microsoft.com/office/drawing/2014/main" id="{1D472173-8BEE-4D8C-B1DE-F9AD6801653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20" name="Slide Number Placeholder 5">
            <a:extLst>
              <a:ext uri="{FF2B5EF4-FFF2-40B4-BE49-F238E27FC236}">
                <a16:creationId xmlns:a16="http://schemas.microsoft.com/office/drawing/2014/main" id="{F775688A-1093-4C82-A743-C843DE957FB0}"/>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880286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9A470C0-81EA-4E4A-9C07-376EB9E24F5F}"/>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C9A470C0-81EA-4E4A-9C07-376EB9E24F5F}"/>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4" name="Pentagon 8"/>
          <p:cNvSpPr/>
          <p:nvPr userDrawn="1"/>
        </p:nvSpPr>
        <p:spPr bwMode="white">
          <a:xfrm>
            <a:off x="1"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4" name="Title 3">
            <a:extLst>
              <a:ext uri="{FF2B5EF4-FFF2-40B4-BE49-F238E27FC236}">
                <a16:creationId xmlns:a16="http://schemas.microsoft.com/office/drawing/2014/main" id="{86719BBB-7510-4256-A7DF-600A68DB2C93}"/>
              </a:ext>
            </a:extLst>
          </p:cNvPr>
          <p:cNvSpPr>
            <a:spLocks noGrp="1"/>
          </p:cNvSpPr>
          <p:nvPr>
            <p:ph type="title" hasCustomPrompt="1"/>
          </p:nvPr>
        </p:nvSpPr>
        <p:spPr>
          <a:xfrm>
            <a:off x="334435" y="357719"/>
            <a:ext cx="4969213"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80C5828B-D6C6-4099-80A0-E4FC322A32D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7F9E71FD-7FBA-40BF-ADBE-D035D8C5BF39}"/>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4846579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979569-2837-4D11-8CF3-E3B771E7BD6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6979569-2837-4D11-8CF3-E3B771E7BD6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6" name="Picture 1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A99244E0-37B1-4CEE-8722-003D0EE29350}"/>
              </a:ext>
            </a:extLst>
          </p:cNvPr>
          <p:cNvSpPr>
            <a:spLocks noGrp="1"/>
          </p:cNvSpPr>
          <p:nvPr>
            <p:ph type="title" hasCustomPrompt="1"/>
          </p:nvPr>
        </p:nvSpPr>
        <p:spPr>
          <a:xfrm>
            <a:off x="334435" y="357719"/>
            <a:ext cx="6552367" cy="443199"/>
          </a:xfrm>
        </p:spPr>
        <p:txBody>
          <a:bodyPr vert="horz"/>
          <a:lstStyle>
            <a:lvl1pPr>
              <a:defRPr sz="3200">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7CA8772E-CB8C-44A0-BF60-63ACCA26D2B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8" name="Slide Number Placeholder 5">
            <a:extLst>
              <a:ext uri="{FF2B5EF4-FFF2-40B4-BE49-F238E27FC236}">
                <a16:creationId xmlns:a16="http://schemas.microsoft.com/office/drawing/2014/main" id="{3C40E75D-2011-43E4-9B7D-25A16F4374D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6548571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80696E0-6DEB-47B3-B70B-995D9E432F5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880696E0-6DEB-47B3-B70B-995D9E432F5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4" name="Title 3">
            <a:extLst>
              <a:ext uri="{FF2B5EF4-FFF2-40B4-BE49-F238E27FC236}">
                <a16:creationId xmlns:a16="http://schemas.microsoft.com/office/drawing/2014/main" id="{87205D76-50DA-4F75-85E0-1949D53D98A9}"/>
              </a:ext>
            </a:extLst>
          </p:cNvPr>
          <p:cNvSpPr>
            <a:spLocks noGrp="1"/>
          </p:cNvSpPr>
          <p:nvPr>
            <p:ph type="title" hasCustomPrompt="1"/>
          </p:nvPr>
        </p:nvSpPr>
        <p:spPr>
          <a:xfrm>
            <a:off x="334435" y="357719"/>
            <a:ext cx="6552367"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20" name="Immagine 8">
            <a:extLst>
              <a:ext uri="{FF2B5EF4-FFF2-40B4-BE49-F238E27FC236}">
                <a16:creationId xmlns:a16="http://schemas.microsoft.com/office/drawing/2014/main" id="{1D006B53-EFBD-4C2A-A98C-53700E06B2B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1" name="Slide Number Placeholder 5">
            <a:extLst>
              <a:ext uri="{FF2B5EF4-FFF2-40B4-BE49-F238E27FC236}">
                <a16:creationId xmlns:a16="http://schemas.microsoft.com/office/drawing/2014/main" id="{23864F1C-8F39-43DD-9D4E-093D1B91CAB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8802417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FD584B-9390-416B-8BFF-8B09C98A4EDF}"/>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5" name="Object 4" hidden="1">
                        <a:extLst>
                          <a:ext uri="{FF2B5EF4-FFF2-40B4-BE49-F238E27FC236}">
                            <a16:creationId xmlns:a16="http://schemas.microsoft.com/office/drawing/2014/main" id="{96FD584B-9390-416B-8BFF-8B09C98A4EDF}"/>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a:xfrm>
            <a:off x="334435" y="3826335"/>
            <a:ext cx="11523132" cy="1606551"/>
          </a:xfr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1" name="Immagine 8">
            <a:extLst>
              <a:ext uri="{FF2B5EF4-FFF2-40B4-BE49-F238E27FC236}">
                <a16:creationId xmlns:a16="http://schemas.microsoft.com/office/drawing/2014/main" id="{538DC126-B747-4415-8024-8803A4E12906}"/>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5A97C092-F465-41BA-B108-CCD6ADD8CAF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9594104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AED64B1-B515-4AD0-9CB0-466D3CC8C27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2AED64B1-B515-4AD0-9CB0-466D3CC8C27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334433"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5" y="3826335"/>
            <a:ext cx="11523132" cy="1606551"/>
          </a:xfrm>
          <a:prstGeom prst="rect">
            <a:avLst/>
          </a:prstGeo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5237222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24" imgH="324" progId="TCLayout.ActiveDocument.1">
                  <p:embed/>
                </p:oleObj>
              </mc:Choice>
              <mc:Fallback>
                <p:oleObj name="Diapositiva think-cell" r:id="rId3" imgW="324" imgH="32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a:latin typeface="+mn-lt"/>
              <a:ea typeface="+mn-ea"/>
              <a:cs typeface="+mn-cs"/>
              <a:sym typeface="Trebuchet MS" panose="020B0603020202020204" pitchFamily="34" charset="0"/>
            </a:endParaRPr>
          </a:p>
        </p:txBody>
      </p:sp>
      <p:pic>
        <p:nvPicPr>
          <p:cNvPr id="8" name="Immagine 8">
            <a:extLst>
              <a:ext uri="{FF2B5EF4-FFF2-40B4-BE49-F238E27FC236}">
                <a16:creationId xmlns:a16="http://schemas.microsoft.com/office/drawing/2014/main" id="{9B7ABF1D-2721-4A1D-A909-CD5A0EC2A89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9" name="Slide Number Placeholder 5">
            <a:extLst>
              <a:ext uri="{FF2B5EF4-FFF2-40B4-BE49-F238E27FC236}">
                <a16:creationId xmlns:a16="http://schemas.microsoft.com/office/drawing/2014/main" id="{37ACDB5F-405F-4F34-871B-9F28FAD8A2D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669236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567F9A-30A3-4A19-B91D-4EE69AFC748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6" name="Object 5" hidden="1">
                        <a:extLst>
                          <a:ext uri="{FF2B5EF4-FFF2-40B4-BE49-F238E27FC236}">
                            <a16:creationId xmlns:a16="http://schemas.microsoft.com/office/drawing/2014/main" id="{B3567F9A-30A3-4A19-B91D-4EE69AFC748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7" name="Title 6">
            <a:extLst>
              <a:ext uri="{FF2B5EF4-FFF2-40B4-BE49-F238E27FC236}">
                <a16:creationId xmlns:a16="http://schemas.microsoft.com/office/drawing/2014/main" id="{C09700A0-D407-4693-A7AF-6D3FE49296D0}"/>
              </a:ext>
            </a:extLst>
          </p:cNvPr>
          <p:cNvSpPr>
            <a:spLocks noGrp="1"/>
          </p:cNvSpPr>
          <p:nvPr>
            <p:ph type="title" hasCustomPrompt="1"/>
          </p:nvPr>
        </p:nvSpPr>
        <p:spPr>
          <a:xfrm>
            <a:off x="334435" y="357719"/>
            <a:ext cx="11523132"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13" name="Immagine 8">
            <a:extLst>
              <a:ext uri="{FF2B5EF4-FFF2-40B4-BE49-F238E27FC236}">
                <a16:creationId xmlns:a16="http://schemas.microsoft.com/office/drawing/2014/main" id="{188423CC-82A4-46C1-957C-A8DEE7AC171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68CC28E8-B6EF-4C69-9D25-431D210C0DD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3382112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C0D0CFD-440E-4A1A-B6D4-557ECE34D84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5C0D0CFD-440E-4A1A-B6D4-557ECE34D84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433783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DA4FCD8-DC3A-4CAD-B804-D58BBAFFE6A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DA4FCD8-DC3A-4CAD-B804-D58BBAFFE6A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6" name="Immagine 8">
            <a:extLst>
              <a:ext uri="{FF2B5EF4-FFF2-40B4-BE49-F238E27FC236}">
                <a16:creationId xmlns:a16="http://schemas.microsoft.com/office/drawing/2014/main" id="{5D9462D5-0E11-4205-9DE1-E34A9D86F13B}"/>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8" name="Slide Number Placeholder 5">
            <a:extLst>
              <a:ext uri="{FF2B5EF4-FFF2-40B4-BE49-F238E27FC236}">
                <a16:creationId xmlns:a16="http://schemas.microsoft.com/office/drawing/2014/main" id="{5CC5FD53-A1F6-4C22-8AA8-F5F8EF13042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5690700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28BCD9-012A-4F1F-8069-A17A18D8F39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B228BCD9-012A-4F1F-8069-A17A18D8F39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atin typeface="Univers Condensed" panose="020B0506020202050204" pitchFamily="34" charset="0"/>
                <a:ea typeface="+mn-ea"/>
                <a:cs typeface="+mn-cs"/>
              </a:defRPr>
            </a:lvl1pPr>
          </a:lstStyle>
          <a:p>
            <a:pPr lvl="0"/>
            <a:r>
              <a:rPr lang="it-IT" dirty="0"/>
              <a:t>Titolo del divisore</a:t>
            </a:r>
          </a:p>
        </p:txBody>
      </p:sp>
    </p:spTree>
    <p:extLst>
      <p:ext uri="{BB962C8B-B14F-4D97-AF65-F5344CB8AC3E}">
        <p14:creationId xmlns:p14="http://schemas.microsoft.com/office/powerpoint/2010/main" val="4165468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884ED4-4D0F-4FFD-9A7C-FF6BB1468F4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51884ED4-4D0F-4FFD-9A7C-FF6BB1468F4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6"/>
          <p:cNvSpPr txBox="1">
            <a:spLocks/>
          </p:cNvSpPr>
          <p:nvPr/>
        </p:nvSpPr>
        <p:spPr>
          <a:xfrm>
            <a:off x="334435" y="2975354"/>
            <a:ext cx="3504140" cy="70179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067" b="1">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9" name="Straight Connector 8"/>
          <p:cNvCxnSpPr/>
          <p:nvPr/>
        </p:nvCxnSpPr>
        <p:spPr>
          <a:xfrm>
            <a:off x="4367899"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5" name="Text Placeholder 4">
            <a:extLst>
              <a:ext uri="{FF2B5EF4-FFF2-40B4-BE49-F238E27FC236}">
                <a16:creationId xmlns:a16="http://schemas.microsoft.com/office/drawing/2014/main" id="{02927E80-90BA-4A23-BFE1-EE80866C4BA5}"/>
              </a:ext>
            </a:extLst>
          </p:cNvPr>
          <p:cNvSpPr>
            <a:spLocks noGrp="1"/>
          </p:cNvSpPr>
          <p:nvPr>
            <p:ph type="body" sz="quarter" idx="10" hasCustomPrompt="1"/>
          </p:nvPr>
        </p:nvSpPr>
        <p:spPr>
          <a:xfrm>
            <a:off x="5021827" y="1664257"/>
            <a:ext cx="6209072" cy="3323987"/>
          </a:xfrm>
        </p:spPr>
        <p:txBody>
          <a:bodyPr/>
          <a:lstStyle>
            <a:lvl1pPr>
              <a:defRPr sz="933">
                <a:latin typeface="+mn-lt"/>
                <a:ea typeface="+mn-ea"/>
                <a:cs typeface="+mn-cs"/>
              </a:defRPr>
            </a:lvl1pPr>
          </a:lstStyle>
          <a:p>
            <a:pPr lvl="0"/>
            <a:r>
              <a:rPr lang="en-US"/>
              <a:t>Edit text</a:t>
            </a:r>
          </a:p>
        </p:txBody>
      </p:sp>
    </p:spTree>
    <p:extLst>
      <p:ext uri="{BB962C8B-B14F-4D97-AF65-F5344CB8AC3E}">
        <p14:creationId xmlns:p14="http://schemas.microsoft.com/office/powerpoint/2010/main" val="37877040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84" imgH="384" progId="TCLayout.ActiveDocument.1">
                  <p:embed/>
                </p:oleObj>
              </mc:Choice>
              <mc:Fallback>
                <p:oleObj name="Diapositiva think-cell"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Titolo 1">
            <a:extLst>
              <a:ext uri="{FF2B5EF4-FFF2-40B4-BE49-F238E27FC236}">
                <a16:creationId xmlns:a16="http://schemas.microsoft.com/office/drawing/2014/main" id="{D82889BE-D7BE-4285-81A6-B5C5CB9E71B3}"/>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a:latin typeface="+mn-lt"/>
                <a:ea typeface="+mn-ea"/>
                <a:cs typeface="+mn-cs"/>
              </a:rPr>
            </a:br>
            <a:r>
              <a:rPr lang="it-IT" sz="1600">
                <a:latin typeface="+mn-lt"/>
                <a:ea typeface="+mn-ea"/>
                <a:cs typeface="+mn-cs"/>
              </a:rPr>
              <a:t>Investiamo nel domani</a:t>
            </a:r>
          </a:p>
        </p:txBody>
      </p:sp>
      <p:sp>
        <p:nvSpPr>
          <p:cNvPr id="11" name="CasellaDiTesto 5">
            <a:extLst>
              <a:ext uri="{FF2B5EF4-FFF2-40B4-BE49-F238E27FC236}">
                <a16:creationId xmlns:a16="http://schemas.microsoft.com/office/drawing/2014/main" id="{752A10B1-920C-44FC-B422-8D133820DEF7}"/>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it-IT" sz="5333" b="0" i="0" u="none" strike="noStrike" kern="0" cap="none" spc="0" normalizeH="0" baseline="0" noProof="0">
                <a:ln>
                  <a:noFill/>
                </a:ln>
                <a:solidFill>
                  <a:srgbClr val="415364"/>
                </a:solidFill>
                <a:effectLst/>
                <a:uLnTx/>
                <a:uFillTx/>
                <a:latin typeface="+mn-lt"/>
                <a:ea typeface="+mn-ea"/>
                <a:cs typeface="+mn-cs"/>
              </a:rPr>
              <a:t>Grazie</a:t>
            </a:r>
          </a:p>
        </p:txBody>
      </p:sp>
      <p:pic>
        <p:nvPicPr>
          <p:cNvPr id="12" name="Immagine 8">
            <a:extLst>
              <a:ext uri="{FF2B5EF4-FFF2-40B4-BE49-F238E27FC236}">
                <a16:creationId xmlns:a16="http://schemas.microsoft.com/office/drawing/2014/main" id="{7767D7F3-2145-4012-A509-E3AF0DAE419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4188539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684D243-7589-4C83-91A5-33B71493701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2684D243-7589-4C83-91A5-33B71493701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0BE80820-0410-4E17-98B9-AA215B2C3EB5}"/>
              </a:ext>
            </a:extLst>
          </p:cNvPr>
          <p:cNvGrpSpPr/>
          <p:nvPr userDrawn="1"/>
        </p:nvGrpSpPr>
        <p:grpSpPr>
          <a:xfrm>
            <a:off x="-600" y="-1"/>
            <a:ext cx="12193800" cy="6858001"/>
            <a:chOff x="-450" y="-1"/>
            <a:chExt cx="9145350" cy="5143501"/>
          </a:xfrm>
        </p:grpSpPr>
        <p:sp>
          <p:nvSpPr>
            <p:cNvPr id="50" name="No fly zone"/>
            <p:cNvSpPr/>
            <p:nvPr/>
          </p:nvSpPr>
          <p:spPr>
            <a:xfrm>
              <a:off x="0" y="-1"/>
              <a:ext cx="9144900" cy="51435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solidFill>
                  <a:schemeClr val="tx1"/>
                </a:solidFill>
                <a:latin typeface="+mn-lt"/>
                <a:ea typeface="+mn-ea"/>
                <a:cs typeface="+mn-cs"/>
              </a:endParaRPr>
            </a:p>
          </p:txBody>
        </p:sp>
        <p:grpSp>
          <p:nvGrpSpPr>
            <p:cNvPr id="51" name="Baselines / anchors"/>
            <p:cNvGrpSpPr/>
            <p:nvPr userDrawn="1"/>
          </p:nvGrpSpPr>
          <p:grpSpPr>
            <a:xfrm>
              <a:off x="-450" y="467100"/>
              <a:ext cx="9144900" cy="4073893"/>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472500" y="467663"/>
              <a:ext cx="8153026" cy="4095464"/>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3" name="Slide edges"/>
            <p:cNvSpPr>
              <a:spLocks/>
            </p:cNvSpPr>
            <p:nvPr/>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250375" y="4563137"/>
              <a:ext cx="8642350" cy="35680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57" name="Whitespace measure"/>
            <p:cNvSpPr>
              <a:spLocks noChangeArrowheads="1"/>
            </p:cNvSpPr>
            <p:nvPr/>
          </p:nvSpPr>
          <p:spPr bwMode="auto">
            <a:xfrm>
              <a:off x="250375" y="868677"/>
              <a:ext cx="8642350"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nvGrpSpPr>
            <p:cNvPr id="58" name="Five column measure"/>
            <p:cNvGrpSpPr/>
            <p:nvPr userDrawn="1"/>
          </p:nvGrpSpPr>
          <p:grpSpPr>
            <a:xfrm>
              <a:off x="250825" y="4471914"/>
              <a:ext cx="8642350" cy="59652"/>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9" name="Live area"/>
            <p:cNvSpPr/>
            <p:nvPr/>
          </p:nvSpPr>
          <p:spPr>
            <a:xfrm>
              <a:off x="250825" y="1310640"/>
              <a:ext cx="8642350" cy="323881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0" name="Footnote example"/>
            <p:cNvSpPr txBox="1"/>
            <p:nvPr/>
          </p:nvSpPr>
          <p:spPr>
            <a:xfrm>
              <a:off x="472500" y="4587412"/>
              <a:ext cx="6773186" cy="332543"/>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8pt font</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3300899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Diapositiva think-cell" r:id="rId4" imgW="384" imgH="384" progId="TCLayout.ActiveDocument.1">
                  <p:embed/>
                </p:oleObj>
              </mc:Choice>
              <mc:Fallback>
                <p:oleObj name="Diapositiva think-cell" r:id="rId4" imgW="384" imgH="384" progId="TCLayout.ActiveDocument.1">
                  <p:embed/>
                  <p:pic>
                    <p:nvPicPr>
                      <p:cNvPr id="3" name="Object 2"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65B59A3-F9DA-46EC-B11A-530564B2A3FE}"/>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mn-lt"/>
                <a:ea typeface="+mn-ea"/>
                <a:cs typeface="+mn-cs"/>
              </a:defRPr>
            </a:lvl1pPr>
          </a:lstStyle>
          <a:p>
            <a:pPr lvl="0">
              <a:buNone/>
            </a:pPr>
            <a:r>
              <a:rPr lang="en-US"/>
              <a:t>Subtitle in sentence case</a:t>
            </a:r>
          </a:p>
        </p:txBody>
      </p:sp>
      <p:sp>
        <p:nvSpPr>
          <p:cNvPr id="17" name="Title 1">
            <a:extLst>
              <a:ext uri="{FF2B5EF4-FFF2-40B4-BE49-F238E27FC236}">
                <a16:creationId xmlns:a16="http://schemas.microsoft.com/office/drawing/2014/main" id="{87B5F764-F1AB-4789-8765-B0469A74FA58}"/>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mj-lt"/>
                <a:ea typeface="+mj-ea"/>
                <a:cs typeface="+mj-cs"/>
              </a:defRPr>
            </a:lvl1pPr>
          </a:lstStyle>
          <a:p>
            <a:pPr marL="0" lvl="0" indent="0">
              <a:lnSpc>
                <a:spcPct val="110000"/>
              </a:lnSpc>
              <a:spcBef>
                <a:spcPts val="600"/>
              </a:spcBef>
              <a:spcAft>
                <a:spcPts val="300"/>
              </a:spcAft>
              <a:buFont typeface="Arial" panose="020B0604020202020204" pitchFamily="34" charset="0"/>
            </a:pPr>
            <a:r>
              <a:rPr lang="en-US"/>
              <a:t>Title in Title Case</a:t>
            </a:r>
          </a:p>
        </p:txBody>
      </p:sp>
      <p:pic>
        <p:nvPicPr>
          <p:cNvPr id="19" name="Immagine 13">
            <a:extLst>
              <a:ext uri="{FF2B5EF4-FFF2-40B4-BE49-F238E27FC236}">
                <a16:creationId xmlns:a16="http://schemas.microsoft.com/office/drawing/2014/main" id="{A31CDF65-552B-4E88-AAA7-943B4F1F7F4D}"/>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3930223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92867E-11CE-41DC-9C8A-63569BC36853}"/>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BD92867E-11CE-41DC-9C8A-63569BC36853}"/>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4" name="Title 3">
            <a:extLst>
              <a:ext uri="{FF2B5EF4-FFF2-40B4-BE49-F238E27FC236}">
                <a16:creationId xmlns:a16="http://schemas.microsoft.com/office/drawing/2014/main" id="{D200B6A7-940F-4CE8-A42A-CF7925799851}"/>
              </a:ext>
            </a:extLst>
          </p:cNvPr>
          <p:cNvSpPr>
            <a:spLocks noGrp="1"/>
          </p:cNvSpPr>
          <p:nvPr>
            <p:ph type="title" hasCustomPrompt="1"/>
          </p:nvPr>
        </p:nvSpPr>
        <p:spPr/>
        <p:txBody>
          <a:bodyPr vert="horz"/>
          <a:lstStyle>
            <a:lvl1pPr>
              <a:defRPr>
                <a:latin typeface="+mj-lt"/>
                <a:ea typeface="+mj-ea"/>
                <a:cs typeface="+mj-cs"/>
              </a:defRPr>
            </a:lvl1pPr>
          </a:lstStyle>
          <a:p>
            <a:r>
              <a:rPr lang="en-US"/>
              <a:t>Click to add title</a:t>
            </a:r>
          </a:p>
        </p:txBody>
      </p:sp>
    </p:spTree>
    <p:extLst>
      <p:ext uri="{BB962C8B-B14F-4D97-AF65-F5344CB8AC3E}">
        <p14:creationId xmlns:p14="http://schemas.microsoft.com/office/powerpoint/2010/main" val="20723633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FC23F8F-7927-4735-B36B-8B42A0745C8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5" name="Object 4" hidden="1">
                        <a:extLst>
                          <a:ext uri="{FF2B5EF4-FFF2-40B4-BE49-F238E27FC236}">
                            <a16:creationId xmlns:a16="http://schemas.microsoft.com/office/drawing/2014/main" id="{9FC23F8F-7927-4735-B36B-8B42A0745C8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latin typeface="+mj-lt"/>
                <a:ea typeface="+mj-ea"/>
                <a:cs typeface="+mj-cs"/>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334435" y="2085628"/>
            <a:ext cx="11523132" cy="3913632"/>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2480820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63DEC4-DCE8-4A0C-84AA-D7D40C41BCB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EE63DEC4-DCE8-4A0C-84AA-D7D40C41BCB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334435" y="2158990"/>
            <a:ext cx="4039567" cy="541687"/>
          </a:xfrm>
          <a:prstGeom prst="rect">
            <a:avLst/>
          </a:prstGeom>
        </p:spPr>
        <p:txBody>
          <a:bodyPr>
            <a:noAutofit/>
          </a:bodyPr>
          <a:lstStyle>
            <a:lvl1pPr marL="0" indent="0" algn="l">
              <a:buNone/>
              <a:defRPr sz="1600">
                <a:solidFill>
                  <a:schemeClr val="tx2"/>
                </a:solidFill>
                <a:latin typeface="+mn-lt"/>
                <a:ea typeface="+mn-ea"/>
                <a:cs typeface="+mn-cs"/>
                <a:sym typeface="Trebuchet MS" panose="020B0603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add subtitle</a:t>
            </a:r>
          </a:p>
        </p:txBody>
      </p:sp>
      <p:sp>
        <p:nvSpPr>
          <p:cNvPr id="9" name="Title 4"/>
          <p:cNvSpPr>
            <a:spLocks noGrp="1"/>
          </p:cNvSpPr>
          <p:nvPr>
            <p:ph type="title" hasCustomPrompt="1"/>
          </p:nvPr>
        </p:nvSpPr>
        <p:spPr>
          <a:xfrm>
            <a:off x="334435" y="1227048"/>
            <a:ext cx="4039567" cy="664797"/>
          </a:xfrm>
        </p:spPr>
        <p:txBody>
          <a:bodyPr vert="horz" anchor="t">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sp>
        <p:nvSpPr>
          <p:cNvPr id="12" name="Slide Number Placeholder 5">
            <a:extLst>
              <a:ext uri="{FF2B5EF4-FFF2-40B4-BE49-F238E27FC236}">
                <a16:creationId xmlns:a16="http://schemas.microsoft.com/office/drawing/2014/main" id="{0F29EC87-E805-4F4E-AAC7-E4B5FA2DA29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12492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A986C99-68E4-42B2-9EC6-7D13B0666D6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A986C99-68E4-42B2-9EC6-7D13B0666D6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bwMode="blackWhite">
          <a:xfrm>
            <a:off x="334435" y="2668041"/>
            <a:ext cx="11523132" cy="3201027"/>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2"/>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334436" y="1424084"/>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621882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900891-5087-435D-9121-3DDD1A0C554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06900891-5087-435D-9121-3DDD1A0C554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334435" y="3826800"/>
            <a:ext cx="11232367" cy="2041200"/>
          </a:xfrm>
        </p:spPr>
        <p:txBody>
          <a:bodyPr vert="horz" anchor="t">
            <a:noAutofit/>
          </a:bodyPr>
          <a:lstStyle>
            <a:lvl1pPr>
              <a:defRPr sz="5333">
                <a:solidFill>
                  <a:schemeClr val="tx2"/>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334436" y="3680016"/>
            <a:ext cx="11854153"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17414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734675F-7B18-490E-BAC8-14CDA267367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0734675F-7B18-490E-BAC8-14CDA267367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4064997" y="0"/>
            <a:ext cx="416951" cy="6858000"/>
          </a:xfrm>
          <a:prstGeom prst="rect">
            <a:avLst/>
          </a:prstGeom>
        </p:spPr>
      </p:pic>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4" name="Rectangle 23"/>
          <p:cNvSpPr/>
          <p:nvPr userDrawn="1"/>
        </p:nvSpPr>
        <p:spPr bwMode="white">
          <a:xfrm>
            <a:off x="2"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2" name="Immagine 8">
            <a:extLst>
              <a:ext uri="{FF2B5EF4-FFF2-40B4-BE49-F238E27FC236}">
                <a16:creationId xmlns:a16="http://schemas.microsoft.com/office/drawing/2014/main" id="{F7818EC9-E4D5-41D8-94BF-6ECE67987EC3}"/>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930E3E22-A5AB-4CA2-ACCE-D97ED983335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5909324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449B9B-FACD-4727-BA73-A9FF5557485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a:extLst>
                          <a:ext uri="{FF2B5EF4-FFF2-40B4-BE49-F238E27FC236}">
                            <a16:creationId xmlns:a16="http://schemas.microsoft.com/office/drawing/2014/main" id="{06449B9B-FACD-4727-BA73-A9FF5557485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5" y="1409528"/>
            <a:ext cx="11523133" cy="4612389"/>
          </a:xfrm>
        </p:spPr>
        <p:txBody>
          <a:bodyPr vert="horz" lIns="0" tIns="0" rIns="0" bIns="0" anchor="t" anchorCtr="0">
            <a:normAutofit/>
          </a:bodyPr>
          <a:lstStyle>
            <a:lvl1pPr algn="l">
              <a:lnSpc>
                <a:spcPct val="100000"/>
              </a:lnSpc>
              <a:defRPr sz="5867" b="0" i="0" baseline="0">
                <a:solidFill>
                  <a:srgbClr val="415064"/>
                </a:solidFill>
                <a:latin typeface="Univers Condensed" panose="020B0506020202050204" pitchFamily="34" charset="0"/>
                <a:ea typeface="+mj-ea"/>
                <a:cs typeface="+mj-cs"/>
              </a:defRPr>
            </a:lvl1pPr>
          </a:lstStyle>
          <a:p>
            <a:r>
              <a:rPr lang="en-US" dirty="0"/>
              <a:t>Call-out è </a:t>
            </a:r>
            <a:r>
              <a:rPr lang="en-US" dirty="0" err="1"/>
              <a:t>una</a:t>
            </a:r>
            <a:r>
              <a:rPr lang="en-US" dirty="0"/>
              <a:t> slide con un testo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Univers Condensed" panose="020B0506020202050204" pitchFamily="34" charset="0"/>
              <a:ea typeface="+mn-ea"/>
              <a:cs typeface="+mn-cs"/>
            </a:endParaRPr>
          </a:p>
        </p:txBody>
      </p:sp>
      <p:sp>
        <p:nvSpPr>
          <p:cNvPr id="19" name="Text Placeholder 2">
            <a:extLst>
              <a:ext uri="{FF2B5EF4-FFF2-40B4-BE49-F238E27FC236}">
                <a16:creationId xmlns:a16="http://schemas.microsoft.com/office/drawing/2014/main" id="{0A0BB9B2-6C38-4093-8504-884F38372103}"/>
              </a:ext>
            </a:extLst>
          </p:cNvPr>
          <p:cNvSpPr>
            <a:spLocks noGrp="1" noChangeAspect="1"/>
          </p:cNvSpPr>
          <p:nvPr>
            <p:ph type="body" idx="14"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dirty="0"/>
              <a:t>Titolo che può essere facoltativo</a:t>
            </a:r>
          </a:p>
        </p:txBody>
      </p:sp>
    </p:spTree>
    <p:extLst>
      <p:ext uri="{BB962C8B-B14F-4D97-AF65-F5344CB8AC3E}">
        <p14:creationId xmlns:p14="http://schemas.microsoft.com/office/powerpoint/2010/main" val="3280575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0653881-E565-497A-A870-4EFDA4C9019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00653881-E565-497A-A870-4EFDA4C9019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7165609" y="0"/>
            <a:ext cx="416951" cy="6858000"/>
          </a:xfrm>
          <a:prstGeom prst="rect">
            <a:avLst/>
          </a:prstGeom>
        </p:spPr>
      </p:pic>
      <p:sp>
        <p:nvSpPr>
          <p:cNvPr id="14" name="Rectangle 13"/>
          <p:cNvSpPr/>
          <p:nvPr userDrawn="1"/>
        </p:nvSpPr>
        <p:spPr bwMode="white">
          <a:xfrm>
            <a:off x="2"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 name="Title 4">
            <a:extLst>
              <a:ext uri="{FF2B5EF4-FFF2-40B4-BE49-F238E27FC236}">
                <a16:creationId xmlns:a16="http://schemas.microsoft.com/office/drawing/2014/main" id="{B32187A9-0E8E-44B3-9F32-3678A4290ADA}"/>
              </a:ext>
            </a:extLst>
          </p:cNvPr>
          <p:cNvSpPr>
            <a:spLocks noGrp="1"/>
          </p:cNvSpPr>
          <p:nvPr>
            <p:ph type="title" hasCustomPrompt="1"/>
          </p:nvPr>
        </p:nvSpPr>
        <p:spPr>
          <a:xfrm>
            <a:off x="334433" y="357719"/>
            <a:ext cx="6572096" cy="332399"/>
          </a:xfrm>
        </p:spPr>
        <p:txBody>
          <a:bodyPr vert="horz"/>
          <a:lstStyle>
            <a:lvl1pPr>
              <a:defRPr>
                <a:latin typeface="+mj-lt"/>
                <a:ea typeface="+mj-ea"/>
                <a:cs typeface="+mj-cs"/>
              </a:defRPr>
            </a:lvl1pPr>
          </a:lstStyle>
          <a:p>
            <a:r>
              <a:rPr lang="en-US"/>
              <a:t>Click to add title</a:t>
            </a:r>
          </a:p>
        </p:txBody>
      </p:sp>
      <p:pic>
        <p:nvPicPr>
          <p:cNvPr id="15" name="Immagine 8">
            <a:extLst>
              <a:ext uri="{FF2B5EF4-FFF2-40B4-BE49-F238E27FC236}">
                <a16:creationId xmlns:a16="http://schemas.microsoft.com/office/drawing/2014/main" id="{0BE1E448-DFA2-4CBA-9AE2-5F6B491ED82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6" name="Slide Number Placeholder 5">
            <a:extLst>
              <a:ext uri="{FF2B5EF4-FFF2-40B4-BE49-F238E27FC236}">
                <a16:creationId xmlns:a16="http://schemas.microsoft.com/office/drawing/2014/main" id="{9701DB39-A167-44C3-BA2E-53D9B73E65DF}"/>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287029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650258F-186F-412E-8D60-8A94CD78F0C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B650258F-186F-412E-8D60-8A94CD78F0C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9029249"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 name="Title 4">
            <a:extLst>
              <a:ext uri="{FF2B5EF4-FFF2-40B4-BE49-F238E27FC236}">
                <a16:creationId xmlns:a16="http://schemas.microsoft.com/office/drawing/2014/main" id="{CB6210E4-37AF-45C4-B655-1C6354E61403}"/>
              </a:ext>
            </a:extLst>
          </p:cNvPr>
          <p:cNvSpPr>
            <a:spLocks noGrp="1"/>
          </p:cNvSpPr>
          <p:nvPr>
            <p:ph type="title" hasCustomPrompt="1"/>
          </p:nvPr>
        </p:nvSpPr>
        <p:spPr>
          <a:xfrm>
            <a:off x="334435" y="357719"/>
            <a:ext cx="8397151" cy="332399"/>
          </a:xfrm>
        </p:spPr>
        <p:txBody>
          <a:bodyPr vert="horz"/>
          <a:lstStyle>
            <a:lvl1pPr>
              <a:defRPr>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AD51F823-C55C-4364-A68B-5E7193EF211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8" name="Slide Number Placeholder 5">
            <a:extLst>
              <a:ext uri="{FF2B5EF4-FFF2-40B4-BE49-F238E27FC236}">
                <a16:creationId xmlns:a16="http://schemas.microsoft.com/office/drawing/2014/main" id="{38FFB3AA-74F7-4EEA-80B3-5E98D317389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205605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F91E195-2B48-4DB8-903B-410FF6EB050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F91E195-2B48-4DB8-903B-410FF6EB050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24"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2" name="Immagine 8">
            <a:extLst>
              <a:ext uri="{FF2B5EF4-FFF2-40B4-BE49-F238E27FC236}">
                <a16:creationId xmlns:a16="http://schemas.microsoft.com/office/drawing/2014/main" id="{B85C187B-FC31-4D73-83A0-F95C3021736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3" name="Slide Number Placeholder 5">
            <a:extLst>
              <a:ext uri="{FF2B5EF4-FFF2-40B4-BE49-F238E27FC236}">
                <a16:creationId xmlns:a16="http://schemas.microsoft.com/office/drawing/2014/main" id="{1369D58D-4107-4F60-A493-AA3BC0960AC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7985074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7B96A3-5F50-4AD9-A387-B05D8125E92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6E7B96A3-5F50-4AD9-A387-B05D8125E92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5689585"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67"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334435" y="1785600"/>
            <a:ext cx="4683967" cy="3286800"/>
          </a:xfrm>
          <a:prstGeom prst="rect">
            <a:avLst/>
          </a:prstGeom>
          <a:noFill/>
        </p:spPr>
        <p:txBody>
          <a:bodyPr vert="horz" wrap="square" lIns="0" tIns="0" rIns="320040" bIns="0"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8" name="Immagine 8">
            <a:extLst>
              <a:ext uri="{FF2B5EF4-FFF2-40B4-BE49-F238E27FC236}">
                <a16:creationId xmlns:a16="http://schemas.microsoft.com/office/drawing/2014/main" id="{D44CDF73-1B05-4516-989A-2728E9CA169B}"/>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9" name="Slide Number Placeholder 5">
            <a:extLst>
              <a:ext uri="{FF2B5EF4-FFF2-40B4-BE49-F238E27FC236}">
                <a16:creationId xmlns:a16="http://schemas.microsoft.com/office/drawing/2014/main" id="{954A351D-9E74-4FC7-84F8-B368D1E894B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2548329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A58822-10A2-445F-B176-8CBBE4167D5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86A58822-10A2-445F-B176-8CBBE4167D5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7409851" y="0"/>
            <a:ext cx="416951" cy="6858000"/>
          </a:xfrm>
          <a:prstGeom prst="rect">
            <a:avLst/>
          </a:prstGeom>
        </p:spPr>
      </p:pic>
      <p:sp>
        <p:nvSpPr>
          <p:cNvPr id="11" name="Rectangle 10"/>
          <p:cNvSpPr/>
          <p:nvPr userDrawn="1"/>
        </p:nvSpPr>
        <p:spPr bwMode="gray">
          <a:xfrm>
            <a:off x="7819546"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Title 1"/>
          <p:cNvSpPr>
            <a:spLocks noGrp="1"/>
          </p:cNvSpPr>
          <p:nvPr>
            <p:ph type="title" hasCustomPrompt="1"/>
          </p:nvPr>
        </p:nvSpPr>
        <p:spPr bwMode="black">
          <a:xfrm>
            <a:off x="334435" y="1785600"/>
            <a:ext cx="6544055" cy="3286800"/>
          </a:xfrm>
          <a:prstGeom prst="rect">
            <a:avLst/>
          </a:prstGeom>
        </p:spPr>
        <p:txBody>
          <a:bodyPr vert="horz"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pic>
        <p:nvPicPr>
          <p:cNvPr id="17" name="Immagine 8">
            <a:extLst>
              <a:ext uri="{FF2B5EF4-FFF2-40B4-BE49-F238E27FC236}">
                <a16:creationId xmlns:a16="http://schemas.microsoft.com/office/drawing/2014/main" id="{E79CEA4D-804D-4688-AAB2-D9174FDB943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371D33C7-3369-438F-83BC-D39FE8C7AB66}"/>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1906782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24" imgH="324" progId="TCLayout.ActiveDocument.1">
                  <p:embed/>
                </p:oleObj>
              </mc:Choice>
              <mc:Fallback>
                <p:oleObj name="Diapositiva think-cell"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0" name="Title 2"/>
          <p:cNvSpPr>
            <a:spLocks noGrp="1"/>
          </p:cNvSpPr>
          <p:nvPr>
            <p:ph type="title" hasCustomPrompt="1"/>
          </p:nvPr>
        </p:nvSpPr>
        <p:spPr>
          <a:xfrm>
            <a:off x="334435" y="2764206"/>
            <a:ext cx="2774205" cy="1314311"/>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5" name="Immagine 8">
            <a:extLst>
              <a:ext uri="{FF2B5EF4-FFF2-40B4-BE49-F238E27FC236}">
                <a16:creationId xmlns:a16="http://schemas.microsoft.com/office/drawing/2014/main" id="{B34EE538-7C5C-4CC7-9AE7-7665B3AC4B7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6" name="Slide Number Placeholder 5">
            <a:extLst>
              <a:ext uri="{FF2B5EF4-FFF2-40B4-BE49-F238E27FC236}">
                <a16:creationId xmlns:a16="http://schemas.microsoft.com/office/drawing/2014/main" id="{A7B3342D-A49F-4AB2-920E-7705A1886EA0}"/>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815718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910DF5-CFD7-4F59-88D1-B14FC60487C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57910DF5-CFD7-4F59-88D1-B14FC60487C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334435" y="2764206"/>
            <a:ext cx="2774205" cy="1314311"/>
          </a:xfrm>
        </p:spPr>
        <p:txBody>
          <a:bodyPr vert="horz" anchor="ctr" anchorCtr="0">
            <a:noAutofit/>
          </a:bodyPr>
          <a:lstStyle>
            <a:lvl1pPr>
              <a:defRPr>
                <a:solidFill>
                  <a:srgbClr val="FFFFFF"/>
                </a:solidFill>
                <a:latin typeface="+mj-lt"/>
                <a:ea typeface="+mj-ea"/>
                <a:cs typeface="+mj-cs"/>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Immagine 8">
            <a:extLst>
              <a:ext uri="{FF2B5EF4-FFF2-40B4-BE49-F238E27FC236}">
                <a16:creationId xmlns:a16="http://schemas.microsoft.com/office/drawing/2014/main" id="{D2023D28-7656-4052-B22D-E0B7C4679B5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3" name="Slide Number Placeholder 5">
            <a:extLst>
              <a:ext uri="{FF2B5EF4-FFF2-40B4-BE49-F238E27FC236}">
                <a16:creationId xmlns:a16="http://schemas.microsoft.com/office/drawing/2014/main" id="{C5AC6373-8A7A-4859-9946-08EC5A99DDA2}"/>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881927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04B5CF-F7EA-4C9A-A225-C337023D4AC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9C04B5CF-F7EA-4C9A-A225-C337023D4AC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4" name="Immagine 8">
            <a:extLst>
              <a:ext uri="{FF2B5EF4-FFF2-40B4-BE49-F238E27FC236}">
                <a16:creationId xmlns:a16="http://schemas.microsoft.com/office/drawing/2014/main" id="{658EBDDD-5906-4C12-9779-723A0094D2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C701A68E-75DD-4EF7-B98B-1BFEA9CFA2F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0244831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E1E8A8B-2752-4247-92E4-3B35C29E663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3E1E8A8B-2752-4247-92E4-3B35C29E663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6" name="Immagine 8">
            <a:extLst>
              <a:ext uri="{FF2B5EF4-FFF2-40B4-BE49-F238E27FC236}">
                <a16:creationId xmlns:a16="http://schemas.microsoft.com/office/drawing/2014/main" id="{7F55403B-BD66-4C94-881D-4E1137B1940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7" name="Slide Number Placeholder 5">
            <a:extLst>
              <a:ext uri="{FF2B5EF4-FFF2-40B4-BE49-F238E27FC236}">
                <a16:creationId xmlns:a16="http://schemas.microsoft.com/office/drawing/2014/main" id="{D3C8D191-BB05-4F33-8432-B6CD3C50A43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2809749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806380-66F6-4D09-B671-738F1BE4E79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DF806380-66F6-4D09-B671-738F1BE4E79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3F4896B2-C260-4D96-93B4-206E71BA6FC3}"/>
              </a:ext>
            </a:extLst>
          </p:cNvPr>
          <p:cNvSpPr>
            <a:spLocks noGrp="1"/>
          </p:cNvSpPr>
          <p:nvPr>
            <p:ph type="title" hasCustomPrompt="1"/>
          </p:nvPr>
        </p:nvSpPr>
        <p:spPr>
          <a:xfrm>
            <a:off x="334435" y="357719"/>
            <a:ext cx="5043389" cy="332399"/>
          </a:xfrm>
        </p:spPr>
        <p:txBody>
          <a:bodyPr vert="horz"/>
          <a:lstStyle>
            <a:lvl1pPr>
              <a:defRPr>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EDDDF762-B894-4261-B169-B395E998A10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9" name="Slide Number Placeholder 5">
            <a:extLst>
              <a:ext uri="{FF2B5EF4-FFF2-40B4-BE49-F238E27FC236}">
                <a16:creationId xmlns:a16="http://schemas.microsoft.com/office/drawing/2014/main" id="{17E03362-340E-4454-9620-06315F6F50E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1805128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0FB6A6-9725-43DF-9FC0-EA978426B97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a:extLst>
                          <a:ext uri="{FF2B5EF4-FFF2-40B4-BE49-F238E27FC236}">
                            <a16:creationId xmlns:a16="http://schemas.microsoft.com/office/drawing/2014/main" id="{060FB6A6-9725-43DF-9FC0-EA978426B97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536000"/>
            <a:ext cx="11523135" cy="4485917"/>
          </a:xfrm>
        </p:spPr>
        <p:txBody>
          <a:bodyPr vert="horz"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mj-ea"/>
                <a:cs typeface="+mj-cs"/>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sed do </a:t>
            </a:r>
            <a:r>
              <a:rPr lang="it-IT" dirty="0" err="1"/>
              <a:t>eiusmod</a:t>
            </a:r>
            <a:r>
              <a:rPr lang="it-IT" dirty="0"/>
              <a:t> </a:t>
            </a:r>
            <a:r>
              <a:rPr lang="it-IT" dirty="0" err="1"/>
              <a:t>tempor</a:t>
            </a:r>
            <a:r>
              <a:rPr lang="it-IT" dirty="0"/>
              <a:t> incidi </a:t>
            </a:r>
            <a:r>
              <a:rPr lang="it-IT" dirty="0" err="1"/>
              <a:t>dunt</a:t>
            </a:r>
            <a:r>
              <a:rPr lang="it-IT" dirty="0"/>
              <a:t> ut labore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 </a:t>
            </a:r>
            <a:endParaRPr lang="en-US"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rgbClr val="797979"/>
                </a:solidFill>
                <a:latin typeface="Univers Condensed" panose="020B0506020202050204" pitchFamily="34" charset="0"/>
                <a:ea typeface="+mn-ea"/>
                <a:cs typeface="+mn-cs"/>
              </a:defRPr>
            </a:lvl1pPr>
          </a:lstStyle>
          <a:p>
            <a:pPr lvl="0"/>
            <a:r>
              <a:rPr lang="it-IT" dirty="0"/>
              <a:t>Sottotitolo</a:t>
            </a:r>
          </a:p>
        </p:txBody>
      </p:sp>
    </p:spTree>
    <p:extLst>
      <p:ext uri="{BB962C8B-B14F-4D97-AF65-F5344CB8AC3E}">
        <p14:creationId xmlns:p14="http://schemas.microsoft.com/office/powerpoint/2010/main" val="15218955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00688E-0344-45D5-AC58-9F41AC1FE02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D200688E-0344-45D5-AC58-9F41AC1FE02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5" name="Title 4">
            <a:extLst>
              <a:ext uri="{FF2B5EF4-FFF2-40B4-BE49-F238E27FC236}">
                <a16:creationId xmlns:a16="http://schemas.microsoft.com/office/drawing/2014/main" id="{32AF4771-A63D-4C87-8E31-472FD6589D12}"/>
              </a:ext>
            </a:extLst>
          </p:cNvPr>
          <p:cNvSpPr>
            <a:spLocks noGrp="1"/>
          </p:cNvSpPr>
          <p:nvPr>
            <p:ph type="title" hasCustomPrompt="1"/>
          </p:nvPr>
        </p:nvSpPr>
        <p:spPr>
          <a:xfrm>
            <a:off x="334435" y="357719"/>
            <a:ext cx="5043389" cy="332399"/>
          </a:xfrm>
        </p:spPr>
        <p:txBody>
          <a:bodyPr vert="horz"/>
          <a:lstStyle>
            <a:lvl1pPr>
              <a:defRPr>
                <a:solidFill>
                  <a:schemeClr val="bg1"/>
                </a:solidFill>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B474C925-EB11-4E35-A4A0-CD06F0C8F8F3}"/>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1E8B605A-4932-45B0-8928-4438F6CBA8E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2903671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3C3F3A5-90FA-4810-9978-6A8FA0216CD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73C3F3A5-90FA-4810-9978-6A8FA0216CD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FCE29963-B64F-4FD6-BE00-18594B575C6F}"/>
              </a:ext>
            </a:extLst>
          </p:cNvPr>
          <p:cNvSpPr>
            <a:spLocks noGrp="1"/>
          </p:cNvSpPr>
          <p:nvPr>
            <p:ph type="title" hasCustomPrompt="1"/>
          </p:nvPr>
        </p:nvSpPr>
        <p:spPr>
          <a:xfrm>
            <a:off x="334435" y="357719"/>
            <a:ext cx="6550063" cy="332399"/>
          </a:xfrm>
        </p:spPr>
        <p:txBody>
          <a:bodyPr vert="horz"/>
          <a:lstStyle>
            <a:lvl1pPr>
              <a:defRPr>
                <a:latin typeface="+mj-lt"/>
                <a:ea typeface="+mj-ea"/>
                <a:cs typeface="+mj-cs"/>
              </a:defRPr>
            </a:lvl1pPr>
          </a:lstStyle>
          <a:p>
            <a:r>
              <a:rPr lang="en-US"/>
              <a:t>Click to add title</a:t>
            </a:r>
          </a:p>
        </p:txBody>
      </p:sp>
      <p:pic>
        <p:nvPicPr>
          <p:cNvPr id="16" name="Immagine 8">
            <a:extLst>
              <a:ext uri="{FF2B5EF4-FFF2-40B4-BE49-F238E27FC236}">
                <a16:creationId xmlns:a16="http://schemas.microsoft.com/office/drawing/2014/main" id="{4BEB3997-A0A3-43AA-B226-621E5387F92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7" name="Slide Number Placeholder 5">
            <a:extLst>
              <a:ext uri="{FF2B5EF4-FFF2-40B4-BE49-F238E27FC236}">
                <a16:creationId xmlns:a16="http://schemas.microsoft.com/office/drawing/2014/main" id="{47D7799A-BFE6-4711-AB5C-BB9D68FBEFC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08468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1838FF-3A3D-4A89-8C2D-59AA6DFF87A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9C1838FF-3A3D-4A89-8C2D-59AA6DFF87A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5" name="Title 4">
            <a:extLst>
              <a:ext uri="{FF2B5EF4-FFF2-40B4-BE49-F238E27FC236}">
                <a16:creationId xmlns:a16="http://schemas.microsoft.com/office/drawing/2014/main" id="{2A27EC17-A1BA-4425-97C3-A78E368980B2}"/>
              </a:ext>
            </a:extLst>
          </p:cNvPr>
          <p:cNvSpPr>
            <a:spLocks noGrp="1"/>
          </p:cNvSpPr>
          <p:nvPr>
            <p:ph type="title" hasCustomPrompt="1"/>
          </p:nvPr>
        </p:nvSpPr>
        <p:spPr>
          <a:xfrm>
            <a:off x="334435" y="357719"/>
            <a:ext cx="6550063" cy="332399"/>
          </a:xfrm>
        </p:spPr>
        <p:txBody>
          <a:bodyPr vert="horz"/>
          <a:lstStyle>
            <a:lvl1pPr>
              <a:defRPr>
                <a:solidFill>
                  <a:schemeClr val="bg1"/>
                </a:solidFill>
                <a:latin typeface="+mj-lt"/>
                <a:ea typeface="+mj-ea"/>
                <a:cs typeface="+mj-cs"/>
              </a:defRPr>
            </a:lvl1pPr>
          </a:lstStyle>
          <a:p>
            <a:r>
              <a:rPr lang="en-US"/>
              <a:t>Click to add title</a:t>
            </a:r>
          </a:p>
        </p:txBody>
      </p:sp>
      <p:pic>
        <p:nvPicPr>
          <p:cNvPr id="20" name="Immagine 8">
            <a:extLst>
              <a:ext uri="{FF2B5EF4-FFF2-40B4-BE49-F238E27FC236}">
                <a16:creationId xmlns:a16="http://schemas.microsoft.com/office/drawing/2014/main" id="{485ED52A-E3A8-4994-9A3A-84E64934A21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1" name="Slide Number Placeholder 5">
            <a:extLst>
              <a:ext uri="{FF2B5EF4-FFF2-40B4-BE49-F238E27FC236}">
                <a16:creationId xmlns:a16="http://schemas.microsoft.com/office/drawing/2014/main" id="{D97B1224-3C52-429E-B70B-9566783C1DE4}"/>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455747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A164588-A4A9-4BAF-9F78-2BD6ECDB39C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2A164588-A4A9-4BAF-9F78-2BD6ECDB39C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Title 1"/>
          <p:cNvSpPr>
            <a:spLocks noGrp="1"/>
          </p:cNvSpPr>
          <p:nvPr>
            <p:ph type="title" hasCustomPrompt="1"/>
          </p:nvPr>
        </p:nvSpPr>
        <p:spPr>
          <a:xfrm>
            <a:off x="334435" y="3826335"/>
            <a:ext cx="11523132" cy="1606551"/>
          </a:xfr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2" name="Immagine 8">
            <a:extLst>
              <a:ext uri="{FF2B5EF4-FFF2-40B4-BE49-F238E27FC236}">
                <a16:creationId xmlns:a16="http://schemas.microsoft.com/office/drawing/2014/main" id="{66C6782F-0C4A-4CA4-A22F-D59EB158CB0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4E190749-C528-4E9D-800A-BEFC484013B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1312401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27B6E2-17C8-4372-AABD-08D76BCF321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927B6E2-17C8-4372-AABD-08D76BCF321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334433"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5" y="3826335"/>
            <a:ext cx="11523132" cy="1606551"/>
          </a:xfrm>
          <a:prstGeom prst="rect">
            <a:avLst/>
          </a:prstGeo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075529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84" imgH="384" progId="TCLayout.ActiveDocument.1">
                  <p:embed/>
                </p:oleObj>
              </mc:Choice>
              <mc:Fallback>
                <p:oleObj name="Diapositiva think-cell" r:id="rId3" imgW="384" imgH="38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a:latin typeface="+mn-lt"/>
              <a:ea typeface="+mn-ea"/>
              <a:cs typeface="+mn-cs"/>
              <a:sym typeface="Trebuchet MS" panose="020B0603020202020204" pitchFamily="34" charset="0"/>
            </a:endParaRPr>
          </a:p>
        </p:txBody>
      </p:sp>
      <p:pic>
        <p:nvPicPr>
          <p:cNvPr id="8" name="Immagine 8">
            <a:extLst>
              <a:ext uri="{FF2B5EF4-FFF2-40B4-BE49-F238E27FC236}">
                <a16:creationId xmlns:a16="http://schemas.microsoft.com/office/drawing/2014/main" id="{88FB652A-D8E9-44DE-894A-A21AE428CDC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9" name="Slide Number Placeholder 5">
            <a:extLst>
              <a:ext uri="{FF2B5EF4-FFF2-40B4-BE49-F238E27FC236}">
                <a16:creationId xmlns:a16="http://schemas.microsoft.com/office/drawing/2014/main" id="{631B86E1-B202-4FB7-B4AD-DEFF73F2238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6735050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B1D225-6ED8-4493-B975-27F7031F4BD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6" name="Object 5" hidden="1">
                        <a:extLst>
                          <a:ext uri="{FF2B5EF4-FFF2-40B4-BE49-F238E27FC236}">
                            <a16:creationId xmlns:a16="http://schemas.microsoft.com/office/drawing/2014/main" id="{63B1D225-6ED8-4493-B975-27F7031F4BD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7" name="Title 6">
            <a:extLst>
              <a:ext uri="{FF2B5EF4-FFF2-40B4-BE49-F238E27FC236}">
                <a16:creationId xmlns:a16="http://schemas.microsoft.com/office/drawing/2014/main" id="{46BDEBF8-5CB6-448E-BA34-B54DFF39FA68}"/>
              </a:ext>
            </a:extLst>
          </p:cNvPr>
          <p:cNvSpPr>
            <a:spLocks noGrp="1"/>
          </p:cNvSpPr>
          <p:nvPr>
            <p:ph type="title" hasCustomPrompt="1"/>
          </p:nvPr>
        </p:nvSpPr>
        <p:spPr>
          <a:xfrm>
            <a:off x="334435" y="357719"/>
            <a:ext cx="11523132" cy="332399"/>
          </a:xfrm>
        </p:spPr>
        <p:txBody>
          <a:bodyPr vert="horz"/>
          <a:lstStyle>
            <a:lvl1pPr>
              <a:defRPr>
                <a:solidFill>
                  <a:schemeClr val="bg1"/>
                </a:solidFill>
                <a:latin typeface="+mj-lt"/>
                <a:ea typeface="+mj-ea"/>
                <a:cs typeface="+mj-cs"/>
              </a:defRPr>
            </a:lvl1pPr>
          </a:lstStyle>
          <a:p>
            <a:r>
              <a:rPr lang="en-US"/>
              <a:t>Click to add title</a:t>
            </a:r>
          </a:p>
        </p:txBody>
      </p:sp>
      <p:pic>
        <p:nvPicPr>
          <p:cNvPr id="14" name="Immagine 8">
            <a:extLst>
              <a:ext uri="{FF2B5EF4-FFF2-40B4-BE49-F238E27FC236}">
                <a16:creationId xmlns:a16="http://schemas.microsoft.com/office/drawing/2014/main" id="{C2B35566-D65F-4B68-BA60-F6084D969CCA}"/>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3B2AAB17-1D51-4888-AFE8-5CE7F3B0AD4F}"/>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3700675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400319-7894-4688-844F-951C90CCCEB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C1400319-7894-4688-844F-951C90CCCEB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334435" y="2619809"/>
            <a:ext cx="3114967" cy="1678023"/>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333" b="1">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Immagine 8">
            <a:extLst>
              <a:ext uri="{FF2B5EF4-FFF2-40B4-BE49-F238E27FC236}">
                <a16:creationId xmlns:a16="http://schemas.microsoft.com/office/drawing/2014/main" id="{A1F64497-12DD-4AF7-B105-227E7FE4E46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003A23FF-E2B3-4C9B-8CBA-BA29213E39B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9166269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B5C7F70-895D-427F-AAFF-3053CDAEB5D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CB5C7F70-895D-427F-AAFF-3053CDAEB5D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7" name="Immagine 8">
            <a:extLst>
              <a:ext uri="{FF2B5EF4-FFF2-40B4-BE49-F238E27FC236}">
                <a16:creationId xmlns:a16="http://schemas.microsoft.com/office/drawing/2014/main" id="{E1D5FA5C-F511-47D2-BD79-3B3F41893CF5}"/>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8" name="Slide Number Placeholder 5">
            <a:extLst>
              <a:ext uri="{FF2B5EF4-FFF2-40B4-BE49-F238E27FC236}">
                <a16:creationId xmlns:a16="http://schemas.microsoft.com/office/drawing/2014/main" id="{23A49329-9F9B-4376-9D2C-D47FD7F59BE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9482651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95F06AD-038C-47A8-9EA0-6993112BB582}"/>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B95F06AD-038C-47A8-9EA0-6993112BB582}"/>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1843474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70CF785-3F04-4678-8A07-538FAC323D6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a:extLst>
                          <a:ext uri="{FF2B5EF4-FFF2-40B4-BE49-F238E27FC236}">
                            <a16:creationId xmlns:a16="http://schemas.microsoft.com/office/drawing/2014/main" id="{970CF785-3F04-4678-8A07-538FAC323D6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sz="2667">
                <a:latin typeface="Univers Condensed" panose="020B0506020202050204" pitchFamily="34" charset="0"/>
                <a:ea typeface="+mn-ea"/>
                <a:cs typeface="+mn-cs"/>
              </a:defRPr>
            </a:lvl1pPr>
          </a:lstStyle>
          <a:p>
            <a:r>
              <a:rPr lang="en-US" dirty="0"/>
              <a:t>Click icon to add picture</a:t>
            </a:r>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6" y="1536000"/>
            <a:ext cx="4224867" cy="4485885"/>
          </a:xfrm>
        </p:spPr>
        <p:txBody>
          <a:bodyPr vert="horz" lIns="0" tIns="0" rIns="0" bIns="0" anchor="t" anchorCtr="0">
            <a:normAutofit/>
          </a:bodyPr>
          <a:lstStyle>
            <a:lvl1pPr algn="l">
              <a:lnSpc>
                <a:spcPct val="100000"/>
              </a:lnSpc>
              <a:spcBef>
                <a:spcPts val="800"/>
              </a:spcBef>
              <a:spcAft>
                <a:spcPts val="800"/>
              </a:spcAft>
              <a:defRPr sz="1867" b="0" i="0">
                <a:solidFill>
                  <a:srgbClr val="415064"/>
                </a:solidFill>
                <a:latin typeface="Univers Condensed" panose="020B0506020202050204" pitchFamily="34" charset="0"/>
                <a:ea typeface="+mj-ea"/>
                <a:cs typeface="+mj-cs"/>
              </a:defRPr>
            </a:lvl1pPr>
          </a:lstStyle>
          <a:p>
            <a:r>
              <a:rPr lang="it-IT" dirty="0"/>
              <a:t>Testo </a:t>
            </a:r>
            <a:r>
              <a:rPr lang="it-IT" dirty="0" err="1"/>
              <a:t>lorem</a:t>
            </a:r>
            <a:r>
              <a:rPr lang="it-IT" dirty="0"/>
              <a:t> </a:t>
            </a:r>
            <a:r>
              <a:rPr lang="it-IT" dirty="0" err="1"/>
              <a:t>ipsum</a:t>
            </a:r>
            <a:r>
              <a:rPr lang="it-IT" dirty="0"/>
              <a:t> dolor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sed do </a:t>
            </a:r>
            <a:r>
              <a:rPr lang="it-IT" dirty="0" err="1"/>
              <a:t>eiusmod</a:t>
            </a:r>
            <a:r>
              <a:rPr lang="it-IT" dirty="0"/>
              <a:t> </a:t>
            </a:r>
            <a:r>
              <a:rPr lang="it-IT" dirty="0" err="1"/>
              <a:t>tempor</a:t>
            </a:r>
            <a:r>
              <a:rPr lang="it-IT" dirty="0"/>
              <a:t> incidi </a:t>
            </a:r>
            <a:r>
              <a:rPr lang="it-IT" dirty="0" err="1"/>
              <a:t>dunt</a:t>
            </a:r>
            <a:r>
              <a:rPr lang="it-IT" dirty="0"/>
              <a:t> ut labore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commodo </a:t>
            </a:r>
            <a:r>
              <a:rPr lang="it-IT" dirty="0" err="1"/>
              <a:t>consequat</a:t>
            </a:r>
            <a:r>
              <a:rPr lang="it-IT" dirty="0"/>
              <a:t>. </a:t>
            </a:r>
            <a:endParaRPr lang="en-US" dirty="0"/>
          </a:p>
        </p:txBody>
      </p:sp>
      <p:sp>
        <p:nvSpPr>
          <p:cNvPr id="15" name="Segnaposto testo 5">
            <a:extLst>
              <a:ext uri="{FF2B5EF4-FFF2-40B4-BE49-F238E27FC236}">
                <a16:creationId xmlns:a16="http://schemas.microsoft.com/office/drawing/2014/main" id="{4EB3E0BB-2190-4650-88B3-F10349CF0E84}"/>
              </a:ext>
            </a:extLst>
          </p:cNvPr>
          <p:cNvSpPr>
            <a:spLocks noGrp="1"/>
          </p:cNvSpPr>
          <p:nvPr>
            <p:ph type="body" sz="quarter" idx="15" hasCustomPrompt="1"/>
          </p:nvPr>
        </p:nvSpPr>
        <p:spPr>
          <a:xfrm>
            <a:off x="334433" y="797859"/>
            <a:ext cx="8593667" cy="383116"/>
          </a:xfrm>
        </p:spPr>
        <p:txBody>
          <a:bodyPr lIns="0" tIns="0" rIns="0" bIns="0" anchor="t">
            <a:noAutofit/>
          </a:bodyPr>
          <a:lstStyle>
            <a:lvl1pPr marL="0" indent="0">
              <a:buNone/>
              <a:defRPr sz="2133">
                <a:solidFill>
                  <a:srgbClr val="797979"/>
                </a:solidFill>
                <a:latin typeface="Univers Condensed" panose="020B0506020202050204" pitchFamily="34" charset="0"/>
                <a:ea typeface="+mn-ea"/>
                <a:cs typeface="+mn-cs"/>
              </a:defRPr>
            </a:lvl1pPr>
          </a:lstStyle>
          <a:p>
            <a:pPr lvl="0"/>
            <a:r>
              <a:rPr lang="it-IT" dirty="0"/>
              <a:t>Sottotitolo</a:t>
            </a:r>
          </a:p>
        </p:txBody>
      </p:sp>
    </p:spTree>
    <p:extLst>
      <p:ext uri="{BB962C8B-B14F-4D97-AF65-F5344CB8AC3E}">
        <p14:creationId xmlns:p14="http://schemas.microsoft.com/office/powerpoint/2010/main" val="2694742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FE29DE-7190-4925-BB6F-2BB05B2A877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F3FE29DE-7190-4925-BB6F-2BB05B2A877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6">
            <a:extLst>
              <a:ext uri="{FF2B5EF4-FFF2-40B4-BE49-F238E27FC236}">
                <a16:creationId xmlns:a16="http://schemas.microsoft.com/office/drawing/2014/main" id="{0333A3DF-AD98-4990-8AA1-54CDC17AF811}"/>
              </a:ext>
            </a:extLst>
          </p:cNvPr>
          <p:cNvSpPr txBox="1">
            <a:spLocks/>
          </p:cNvSpPr>
          <p:nvPr userDrawn="1"/>
        </p:nvSpPr>
        <p:spPr>
          <a:xfrm>
            <a:off x="334435" y="2975354"/>
            <a:ext cx="3504140" cy="70179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067" b="1">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11" name="Straight Connector 10">
            <a:extLst>
              <a:ext uri="{FF2B5EF4-FFF2-40B4-BE49-F238E27FC236}">
                <a16:creationId xmlns:a16="http://schemas.microsoft.com/office/drawing/2014/main" id="{92B65581-7263-406B-BA0A-E05F50D6B620}"/>
              </a:ext>
            </a:extLst>
          </p:cNvPr>
          <p:cNvCxnSpPr/>
          <p:nvPr userDrawn="1"/>
        </p:nvCxnSpPr>
        <p:spPr>
          <a:xfrm>
            <a:off x="4367899"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D611BC4C-68A5-4CAA-BFDE-240CA941B9E4}"/>
              </a:ext>
            </a:extLst>
          </p:cNvPr>
          <p:cNvSpPr>
            <a:spLocks noGrp="1"/>
          </p:cNvSpPr>
          <p:nvPr>
            <p:ph type="body" sz="quarter" idx="10" hasCustomPrompt="1"/>
          </p:nvPr>
        </p:nvSpPr>
        <p:spPr>
          <a:xfrm>
            <a:off x="5021827" y="1664257"/>
            <a:ext cx="6209072" cy="3323987"/>
          </a:xfrm>
        </p:spPr>
        <p:txBody>
          <a:bodyPr/>
          <a:lstStyle>
            <a:lvl1pPr>
              <a:defRPr sz="933">
                <a:latin typeface="+mn-lt"/>
                <a:ea typeface="+mn-ea"/>
                <a:cs typeface="+mn-cs"/>
              </a:defRPr>
            </a:lvl1pPr>
          </a:lstStyle>
          <a:p>
            <a:pPr lvl="0"/>
            <a:r>
              <a:rPr lang="en-US"/>
              <a:t>Edit text</a:t>
            </a:r>
          </a:p>
        </p:txBody>
      </p:sp>
    </p:spTree>
    <p:extLst>
      <p:ext uri="{BB962C8B-B14F-4D97-AF65-F5344CB8AC3E}">
        <p14:creationId xmlns:p14="http://schemas.microsoft.com/office/powerpoint/2010/main" val="1025500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84" imgH="384" progId="TCLayout.ActiveDocument.1">
                  <p:embed/>
                </p:oleObj>
              </mc:Choice>
              <mc:Fallback>
                <p:oleObj name="Diapositiva think-cell"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7" name="Titolo 1">
            <a:extLst>
              <a:ext uri="{FF2B5EF4-FFF2-40B4-BE49-F238E27FC236}">
                <a16:creationId xmlns:a16="http://schemas.microsoft.com/office/drawing/2014/main" id="{ACE11E19-9773-4824-BA0E-BC4A67E06151}"/>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a:latin typeface="+mn-lt"/>
                <a:ea typeface="+mn-ea"/>
                <a:cs typeface="+mn-cs"/>
              </a:rPr>
            </a:br>
            <a:r>
              <a:rPr lang="it-IT" sz="1600">
                <a:latin typeface="+mn-lt"/>
                <a:ea typeface="+mn-ea"/>
                <a:cs typeface="+mn-cs"/>
              </a:rPr>
              <a:t>Investiamo nel domani</a:t>
            </a:r>
          </a:p>
        </p:txBody>
      </p:sp>
      <p:sp>
        <p:nvSpPr>
          <p:cNvPr id="11" name="CasellaDiTesto 5">
            <a:extLst>
              <a:ext uri="{FF2B5EF4-FFF2-40B4-BE49-F238E27FC236}">
                <a16:creationId xmlns:a16="http://schemas.microsoft.com/office/drawing/2014/main" id="{697E90E9-6054-428C-B295-6021CDC808A5}"/>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it-IT" sz="5333" b="0" i="0" u="none" strike="noStrike" kern="0" cap="none" spc="0" normalizeH="0" baseline="0" noProof="0">
                <a:ln>
                  <a:noFill/>
                </a:ln>
                <a:solidFill>
                  <a:srgbClr val="415364"/>
                </a:solidFill>
                <a:effectLst/>
                <a:uLnTx/>
                <a:uFillTx/>
                <a:latin typeface="+mn-lt"/>
                <a:ea typeface="+mn-ea"/>
                <a:cs typeface="+mn-cs"/>
              </a:rPr>
              <a:t>Grazie</a:t>
            </a:r>
          </a:p>
        </p:txBody>
      </p:sp>
      <p:pic>
        <p:nvPicPr>
          <p:cNvPr id="12" name="Immagine 8">
            <a:extLst>
              <a:ext uri="{FF2B5EF4-FFF2-40B4-BE49-F238E27FC236}">
                <a16:creationId xmlns:a16="http://schemas.microsoft.com/office/drawing/2014/main" id="{6DEC2C2F-2DE4-451F-9CC8-CDF91FB109E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33151176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B28A9CC-B7F3-436E-84BC-1D6DF0C7C4B2}"/>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9B28A9CC-B7F3-436E-84BC-1D6DF0C7C4B2}"/>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grpSp>
        <p:nvGrpSpPr>
          <p:cNvPr id="51" name="Group 50">
            <a:extLst>
              <a:ext uri="{FF2B5EF4-FFF2-40B4-BE49-F238E27FC236}">
                <a16:creationId xmlns:a16="http://schemas.microsoft.com/office/drawing/2014/main" id="{7189452D-1CCB-41B1-AA2B-61C9161F1454}"/>
              </a:ext>
            </a:extLst>
          </p:cNvPr>
          <p:cNvGrpSpPr/>
          <p:nvPr userDrawn="1"/>
        </p:nvGrpSpPr>
        <p:grpSpPr>
          <a:xfrm>
            <a:off x="-600" y="-1"/>
            <a:ext cx="12193800" cy="6858001"/>
            <a:chOff x="-450" y="-1"/>
            <a:chExt cx="9145350" cy="5143501"/>
          </a:xfrm>
        </p:grpSpPr>
        <p:sp>
          <p:nvSpPr>
            <p:cNvPr id="52" name="No fly zone">
              <a:extLst>
                <a:ext uri="{FF2B5EF4-FFF2-40B4-BE49-F238E27FC236}">
                  <a16:creationId xmlns:a16="http://schemas.microsoft.com/office/drawing/2014/main" id="{E40AB219-E9C9-426F-8F7B-C4038B409FF7}"/>
                </a:ext>
              </a:extLst>
            </p:cNvPr>
            <p:cNvSpPr/>
            <p:nvPr/>
          </p:nvSpPr>
          <p:spPr>
            <a:xfrm>
              <a:off x="0" y="-1"/>
              <a:ext cx="9144900" cy="51435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solidFill>
                  <a:schemeClr val="tx1"/>
                </a:solidFill>
                <a:latin typeface="+mn-lt"/>
                <a:ea typeface="+mn-ea"/>
                <a:cs typeface="+mn-cs"/>
              </a:endParaRPr>
            </a:p>
          </p:txBody>
        </p:sp>
        <p:grpSp>
          <p:nvGrpSpPr>
            <p:cNvPr id="53" name="Baselines / anchors">
              <a:extLst>
                <a:ext uri="{FF2B5EF4-FFF2-40B4-BE49-F238E27FC236}">
                  <a16:creationId xmlns:a16="http://schemas.microsoft.com/office/drawing/2014/main" id="{40DB03D3-201E-4FCB-8DD2-D15748E2DF50}"/>
                </a:ext>
              </a:extLst>
            </p:cNvPr>
            <p:cNvGrpSpPr/>
            <p:nvPr userDrawn="1"/>
          </p:nvGrpSpPr>
          <p:grpSpPr>
            <a:xfrm>
              <a:off x="-450" y="467100"/>
              <a:ext cx="9144900" cy="4073893"/>
              <a:chOff x="12623800" y="622800"/>
              <a:chExt cx="11176000" cy="5536800"/>
            </a:xfrm>
          </p:grpSpPr>
          <p:cxnSp>
            <p:nvCxnSpPr>
              <p:cNvPr id="78" name="Straight Connector 77">
                <a:extLst>
                  <a:ext uri="{FF2B5EF4-FFF2-40B4-BE49-F238E27FC236}">
                    <a16:creationId xmlns:a16="http://schemas.microsoft.com/office/drawing/2014/main" id="{262DC3F4-B86C-4DCC-903E-EBF6C109320F}"/>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236A330-BCF2-4B1F-84EF-4FB4E94A610B}"/>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DA7C80B0-D289-4706-8B8E-FC23B6B4FD0C}"/>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82531583-E3E4-44F1-B4AD-0E2D9178173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797926D-4DDA-48A5-88C6-C3A8800B452D}"/>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3EC69534-1303-4A8D-9CF0-45FCA1192A90}"/>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85C8FDE-E5FD-47D0-9255-B18C122ED344}"/>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9A8E5AB-2936-434F-B110-7D9F6D471F42}"/>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D042711B-AE56-423A-8257-AE5AB55888C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35B844B4-0019-4B94-8136-412FAC93679E}"/>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1DD94C7E-8392-4E18-8291-6A382861C55F}"/>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B78C286-F290-4A82-B470-382446F32140}"/>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6A4A7847-C95C-4CDB-94D7-9FF93B97FF0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869CADE-35F9-4CC5-A844-4E5C9D2F6B22}"/>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21778A7-8804-4481-B74B-523443CB54BC}"/>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471B1321-0A7A-45FC-86D2-BD3B24E4A0D4}"/>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1BF9F6F4-B2D1-4547-90D9-5A1A7BDFF3E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551DDDBC-1DB0-4AB9-9BF5-A9EF04E6ADE8}"/>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3A45FBFC-8BC5-4F8C-9D4F-3D5E2F0C8084}"/>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B88A7F07-177E-48DA-8768-86679D1FF968}"/>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4" name="Gutter space">
              <a:extLst>
                <a:ext uri="{FF2B5EF4-FFF2-40B4-BE49-F238E27FC236}">
                  <a16:creationId xmlns:a16="http://schemas.microsoft.com/office/drawing/2014/main" id="{6A79F0A2-38F6-4EBF-AF18-69357ACE3AA4}"/>
                </a:ext>
              </a:extLst>
            </p:cNvPr>
            <p:cNvGrpSpPr/>
            <p:nvPr userDrawn="1"/>
          </p:nvGrpSpPr>
          <p:grpSpPr>
            <a:xfrm>
              <a:off x="472500" y="467663"/>
              <a:ext cx="8153026" cy="4095464"/>
              <a:chOff x="1277000" y="623550"/>
              <a:chExt cx="9638000" cy="5537047"/>
            </a:xfrm>
          </p:grpSpPr>
          <p:sp>
            <p:nvSpPr>
              <p:cNvPr id="67" name="Rectangle 34">
                <a:extLst>
                  <a:ext uri="{FF2B5EF4-FFF2-40B4-BE49-F238E27FC236}">
                    <a16:creationId xmlns:a16="http://schemas.microsoft.com/office/drawing/2014/main" id="{F7F4024B-1778-45FE-8CEA-607BD5691BEF}"/>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8" name="Rectangle 35">
                <a:extLst>
                  <a:ext uri="{FF2B5EF4-FFF2-40B4-BE49-F238E27FC236}">
                    <a16:creationId xmlns:a16="http://schemas.microsoft.com/office/drawing/2014/main" id="{DACBC4FF-35D5-47A2-9B3F-50AB36FDEAE6}"/>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9" name="Rectangle 36">
                <a:extLst>
                  <a:ext uri="{FF2B5EF4-FFF2-40B4-BE49-F238E27FC236}">
                    <a16:creationId xmlns:a16="http://schemas.microsoft.com/office/drawing/2014/main" id="{32209605-CE1E-49BD-952A-DE2B5A3C649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0" name="Rectangle 37">
                <a:extLst>
                  <a:ext uri="{FF2B5EF4-FFF2-40B4-BE49-F238E27FC236}">
                    <a16:creationId xmlns:a16="http://schemas.microsoft.com/office/drawing/2014/main" id="{90E5767A-3D40-4D57-BDD5-4B872D761EB9}"/>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1" name="Rectangle 38">
                <a:extLst>
                  <a:ext uri="{FF2B5EF4-FFF2-40B4-BE49-F238E27FC236}">
                    <a16:creationId xmlns:a16="http://schemas.microsoft.com/office/drawing/2014/main" id="{FD02B149-0EE4-4740-AB0A-ADFEC18F1056}"/>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2" name="Rectangle 39">
                <a:extLst>
                  <a:ext uri="{FF2B5EF4-FFF2-40B4-BE49-F238E27FC236}">
                    <a16:creationId xmlns:a16="http://schemas.microsoft.com/office/drawing/2014/main" id="{EED6AEDB-5398-453D-BB07-290524E7A445}"/>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3" name="Rectangle 40">
                <a:extLst>
                  <a:ext uri="{FF2B5EF4-FFF2-40B4-BE49-F238E27FC236}">
                    <a16:creationId xmlns:a16="http://schemas.microsoft.com/office/drawing/2014/main" id="{1D8F69E3-1553-44A3-B498-D6B0270A4E36}"/>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4" name="Rectangle 41">
                <a:extLst>
                  <a:ext uri="{FF2B5EF4-FFF2-40B4-BE49-F238E27FC236}">
                    <a16:creationId xmlns:a16="http://schemas.microsoft.com/office/drawing/2014/main" id="{8E5FDFDB-932F-4B0F-BC9E-664FEBF0EEE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5" name="Rectangle 42">
                <a:extLst>
                  <a:ext uri="{FF2B5EF4-FFF2-40B4-BE49-F238E27FC236}">
                    <a16:creationId xmlns:a16="http://schemas.microsoft.com/office/drawing/2014/main" id="{23331373-11CC-4C4D-A0BE-9E2378E422D5}"/>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6" name="Rectangle 43">
                <a:extLst>
                  <a:ext uri="{FF2B5EF4-FFF2-40B4-BE49-F238E27FC236}">
                    <a16:creationId xmlns:a16="http://schemas.microsoft.com/office/drawing/2014/main" id="{D6CD0EF1-B11E-400E-B7E1-5854EC4611AA}"/>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7" name="Rectangle 44">
                <a:extLst>
                  <a:ext uri="{FF2B5EF4-FFF2-40B4-BE49-F238E27FC236}">
                    <a16:creationId xmlns:a16="http://schemas.microsoft.com/office/drawing/2014/main" id="{4327EFD2-5803-4DF7-BEE3-6D5C1C54AFD6}"/>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5" name="Slide edges">
              <a:extLst>
                <a:ext uri="{FF2B5EF4-FFF2-40B4-BE49-F238E27FC236}">
                  <a16:creationId xmlns:a16="http://schemas.microsoft.com/office/drawing/2014/main" id="{48F20335-C728-451C-B138-44EF185AE3BA}"/>
                </a:ext>
              </a:extLst>
            </p:cNvPr>
            <p:cNvSpPr>
              <a:spLocks/>
            </p:cNvSpPr>
            <p:nvPr/>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7" name="Footnote measure">
              <a:extLst>
                <a:ext uri="{FF2B5EF4-FFF2-40B4-BE49-F238E27FC236}">
                  <a16:creationId xmlns:a16="http://schemas.microsoft.com/office/drawing/2014/main" id="{772CA04F-B31B-4376-A513-62F5241CE70A}"/>
                </a:ext>
              </a:extLst>
            </p:cNvPr>
            <p:cNvSpPr>
              <a:spLocks noChangeArrowheads="1"/>
            </p:cNvSpPr>
            <p:nvPr/>
          </p:nvSpPr>
          <p:spPr bwMode="auto">
            <a:xfrm>
              <a:off x="250375" y="4563137"/>
              <a:ext cx="8642350" cy="35680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58" name="Whitespace measure">
              <a:extLst>
                <a:ext uri="{FF2B5EF4-FFF2-40B4-BE49-F238E27FC236}">
                  <a16:creationId xmlns:a16="http://schemas.microsoft.com/office/drawing/2014/main" id="{1825E3BF-B03E-43AA-AAC3-CEF10CD6A913}"/>
                </a:ext>
              </a:extLst>
            </p:cNvPr>
            <p:cNvSpPr>
              <a:spLocks noChangeArrowheads="1"/>
            </p:cNvSpPr>
            <p:nvPr/>
          </p:nvSpPr>
          <p:spPr bwMode="auto">
            <a:xfrm>
              <a:off x="250375" y="868677"/>
              <a:ext cx="8642350"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nvGrpSpPr>
            <p:cNvPr id="59" name="Five column measure">
              <a:extLst>
                <a:ext uri="{FF2B5EF4-FFF2-40B4-BE49-F238E27FC236}">
                  <a16:creationId xmlns:a16="http://schemas.microsoft.com/office/drawing/2014/main" id="{2CA858E5-430D-4AAF-AFBB-AF5FDD38E383}"/>
                </a:ext>
              </a:extLst>
            </p:cNvPr>
            <p:cNvGrpSpPr/>
            <p:nvPr userDrawn="1"/>
          </p:nvGrpSpPr>
          <p:grpSpPr>
            <a:xfrm>
              <a:off x="250825" y="4471914"/>
              <a:ext cx="8642350" cy="59652"/>
              <a:chOff x="629400" y="5975122"/>
              <a:chExt cx="10933200" cy="79536"/>
            </a:xfrm>
          </p:grpSpPr>
          <p:sp>
            <p:nvSpPr>
              <p:cNvPr id="62" name="Rectangle 5">
                <a:extLst>
                  <a:ext uri="{FF2B5EF4-FFF2-40B4-BE49-F238E27FC236}">
                    <a16:creationId xmlns:a16="http://schemas.microsoft.com/office/drawing/2014/main" id="{F8592A28-0FCB-4964-9F62-8DA3F0E3933A}"/>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3" name="Rectangle 7">
                <a:extLst>
                  <a:ext uri="{FF2B5EF4-FFF2-40B4-BE49-F238E27FC236}">
                    <a16:creationId xmlns:a16="http://schemas.microsoft.com/office/drawing/2014/main" id="{C530550A-07DD-4954-9611-AD489A054D3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4" name="Rectangle 9">
                <a:extLst>
                  <a:ext uri="{FF2B5EF4-FFF2-40B4-BE49-F238E27FC236}">
                    <a16:creationId xmlns:a16="http://schemas.microsoft.com/office/drawing/2014/main" id="{C2C7FBA6-4D33-43A4-8663-3AABB4BCBD2B}"/>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5" name="Rectangle 11">
                <a:extLst>
                  <a:ext uri="{FF2B5EF4-FFF2-40B4-BE49-F238E27FC236}">
                    <a16:creationId xmlns:a16="http://schemas.microsoft.com/office/drawing/2014/main" id="{CAFF74AD-92D8-455D-95DF-CE64B36B1A42}"/>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6" name="Rectangle 13">
                <a:extLst>
                  <a:ext uri="{FF2B5EF4-FFF2-40B4-BE49-F238E27FC236}">
                    <a16:creationId xmlns:a16="http://schemas.microsoft.com/office/drawing/2014/main" id="{33814CA9-2243-40E9-A639-32A54D823694}"/>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60" name="Live area">
              <a:extLst>
                <a:ext uri="{FF2B5EF4-FFF2-40B4-BE49-F238E27FC236}">
                  <a16:creationId xmlns:a16="http://schemas.microsoft.com/office/drawing/2014/main" id="{CEF51CCE-7837-4681-B3FC-3B4509D639E8}"/>
                </a:ext>
              </a:extLst>
            </p:cNvPr>
            <p:cNvSpPr/>
            <p:nvPr/>
          </p:nvSpPr>
          <p:spPr>
            <a:xfrm>
              <a:off x="250825" y="1310640"/>
              <a:ext cx="8642350" cy="323881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1" name="Footnote example">
              <a:extLst>
                <a:ext uri="{FF2B5EF4-FFF2-40B4-BE49-F238E27FC236}">
                  <a16:creationId xmlns:a16="http://schemas.microsoft.com/office/drawing/2014/main" id="{8193C4F4-7D29-4441-B68E-A515F0C9D41B}"/>
                </a:ext>
              </a:extLst>
            </p:cNvPr>
            <p:cNvSpPr txBox="1"/>
            <p:nvPr/>
          </p:nvSpPr>
          <p:spPr>
            <a:xfrm>
              <a:off x="472500" y="4587412"/>
              <a:ext cx="6773186" cy="332543"/>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8pt font</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3811544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4" imgW="270" imgH="270" progId="TCLayout.ActiveDocument.1">
                  <p:embed/>
                </p:oleObj>
              </mc:Choice>
              <mc:Fallback>
                <p:oleObj name="Diapositiva think-cell" r:id="rId4" imgW="270" imgH="270"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Rectangle 10"/>
          <p:cNvSpPr/>
          <p:nvPr userDrawn="1"/>
        </p:nvSpPr>
        <p:spPr bwMode="invGray">
          <a:xfrm>
            <a:off x="1092581" y="4691188"/>
            <a:ext cx="929337" cy="995875"/>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2"/>
            </p:custDataLst>
          </p:nvPr>
        </p:nvSpPr>
        <p:spPr>
          <a:xfrm>
            <a:off x="2213916"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334433" y="907199"/>
            <a:ext cx="3448800" cy="3450336"/>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333" b="1">
              <a:solidFill>
                <a:schemeClr val="bg1"/>
              </a:solidFill>
              <a:latin typeface="+mn-lt"/>
              <a:ea typeface="+mn-ea"/>
              <a:cs typeface="+mn-cs"/>
            </a:endParaRPr>
          </a:p>
        </p:txBody>
      </p:sp>
      <p:sp>
        <p:nvSpPr>
          <p:cNvPr id="10" name="TextBox 1"/>
          <p:cNvSpPr txBox="1"/>
          <p:nvPr userDrawn="1"/>
        </p:nvSpPr>
        <p:spPr>
          <a:xfrm>
            <a:off x="711791" y="1115416"/>
            <a:ext cx="2693366" cy="871970"/>
          </a:xfrm>
          <a:prstGeom prst="rect">
            <a:avLst/>
          </a:prstGeom>
          <a:noFill/>
        </p:spPr>
        <p:txBody>
          <a:bodyPr wrap="none" rtlCol="0">
            <a:spAutoFit/>
          </a:bodyPr>
          <a:lstStyle/>
          <a:p>
            <a:pPr algn="ctr" fontAlgn="auto">
              <a:lnSpc>
                <a:spcPct val="95000"/>
              </a:lnSpc>
              <a:spcBef>
                <a:spcPts val="0"/>
              </a:spcBef>
              <a:spcAft>
                <a:spcPts val="0"/>
              </a:spcAft>
            </a:pPr>
            <a:r>
              <a:rPr lang="en-US" sz="5333" b="1">
                <a:solidFill>
                  <a:schemeClr val="bg1"/>
                </a:solidFill>
                <a:latin typeface="+mn-lt"/>
                <a:ea typeface="+mn-ea"/>
                <a:cs typeface="+mn-cs"/>
              </a:rPr>
              <a:t>Agenda</a:t>
            </a:r>
          </a:p>
        </p:txBody>
      </p:sp>
      <p:pic>
        <p:nvPicPr>
          <p:cNvPr id="14" name="Immagine 8">
            <a:extLst>
              <a:ext uri="{FF2B5EF4-FFF2-40B4-BE49-F238E27FC236}">
                <a16:creationId xmlns:a16="http://schemas.microsoft.com/office/drawing/2014/main" id="{ABE5AF2C-20D6-4F62-A1AA-77E8196263BB}"/>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59CE1CCC-BC12-457B-BA9B-06585D5AFD88}"/>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265751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pic>
        <p:nvPicPr>
          <p:cNvPr id="8" name="Immagine 8">
            <a:extLst>
              <a:ext uri="{FF2B5EF4-FFF2-40B4-BE49-F238E27FC236}">
                <a16:creationId xmlns:a16="http://schemas.microsoft.com/office/drawing/2014/main" id="{DDA1DD87-6109-4C89-882E-3411D07CA17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1" name="Slide Number Placeholder 5">
            <a:extLst>
              <a:ext uri="{FF2B5EF4-FFF2-40B4-BE49-F238E27FC236}">
                <a16:creationId xmlns:a16="http://schemas.microsoft.com/office/drawing/2014/main" id="{07C617F3-ADC2-4A47-BA56-2DBA67D2A89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01668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Title 1"/>
          <p:cNvSpPr txBox="1">
            <a:spLocks/>
          </p:cNvSpPr>
          <p:nvPr userDrawn="1"/>
        </p:nvSpPr>
        <p:spPr>
          <a:xfrm>
            <a:off x="334433" y="622801"/>
            <a:ext cx="7485565"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a:solidFill>
                  <a:schemeClr val="bg1"/>
                </a:solidFill>
                <a:latin typeface="+mn-lt"/>
                <a:ea typeface="+mn-ea"/>
                <a:cs typeface="+mn-cs"/>
              </a:rPr>
              <a:t>Agenda</a:t>
            </a:r>
          </a:p>
        </p:txBody>
      </p:sp>
      <p:cxnSp>
        <p:nvCxnSpPr>
          <p:cNvPr id="13" name="Straight Connector 12"/>
          <p:cNvCxnSpPr/>
          <p:nvPr userDrawn="1"/>
        </p:nvCxnSpPr>
        <p:spPr bwMode="white">
          <a:xfrm>
            <a:off x="334436" y="1206000"/>
            <a:ext cx="11860769"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Immagine 8">
            <a:extLst>
              <a:ext uri="{FF2B5EF4-FFF2-40B4-BE49-F238E27FC236}">
                <a16:creationId xmlns:a16="http://schemas.microsoft.com/office/drawing/2014/main" id="{5C8B20CC-B404-4CE8-ABB6-1B5332D21594}"/>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4F4F287C-1C0D-4A26-82B8-08D2C466B60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5437882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7" name="TextBox 16"/>
          <p:cNvSpPr txBox="1"/>
          <p:nvPr userDrawn="1"/>
        </p:nvSpPr>
        <p:spPr>
          <a:xfrm>
            <a:off x="334435" y="3207718"/>
            <a:ext cx="1842711"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rPr>
              <a:t>Agenda</a:t>
            </a:r>
          </a:p>
        </p:txBody>
      </p:sp>
      <p:pic>
        <p:nvPicPr>
          <p:cNvPr id="9" name="Immagine 8">
            <a:extLst>
              <a:ext uri="{FF2B5EF4-FFF2-40B4-BE49-F238E27FC236}">
                <a16:creationId xmlns:a16="http://schemas.microsoft.com/office/drawing/2014/main" id="{BBEB3C03-075E-4CBC-8159-29022369C13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1" name="Slide Number Placeholder 5">
            <a:extLst>
              <a:ext uri="{FF2B5EF4-FFF2-40B4-BE49-F238E27FC236}">
                <a16:creationId xmlns:a16="http://schemas.microsoft.com/office/drawing/2014/main" id="{D28B607E-A299-4AE7-9F59-3F4CA4D04376}"/>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143853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4" imgW="270" imgH="270" progId="TCLayout.ActiveDocument.1">
                  <p:embed/>
                </p:oleObj>
              </mc:Choice>
              <mc:Fallback>
                <p:oleObj name="Diapositiva think-cell"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invGray">
          <a:xfrm>
            <a:off x="1092581" y="4691188"/>
            <a:ext cx="929337" cy="995875"/>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213916" y="4691187"/>
            <a:ext cx="1570152" cy="1468176"/>
          </a:xfrm>
          <a:prstGeom prst="rect">
            <a:avLst/>
          </a:prstGeom>
          <a:noFill/>
          <a:ln w="9525" cmpd="sng">
            <a:solidFill>
              <a:schemeClr val="tx1"/>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334433" y="907196"/>
            <a:ext cx="3448800" cy="3450336"/>
          </a:xfrm>
          <a:prstGeom prst="rect">
            <a:avLst/>
          </a:prstGeom>
          <a:noFill/>
          <a:ln>
            <a:solidFill>
              <a:schemeClr val="tx1"/>
            </a:solidFill>
          </a:ln>
        </p:spPr>
        <p:txBody>
          <a:bodyPr wrap="square" lIns="612000" tIns="468000" rIns="0" bIns="0" rtlCol="0" anchor="t">
            <a:noAutofit/>
          </a:bodyPr>
          <a:lstStyle/>
          <a:p>
            <a:pPr>
              <a:lnSpc>
                <a:spcPct val="90000"/>
              </a:lnSpc>
              <a:spcAft>
                <a:spcPts val="600"/>
              </a:spcAft>
            </a:pPr>
            <a:endParaRPr lang="en-US" sz="5333">
              <a:solidFill>
                <a:schemeClr val="accent4"/>
              </a:solidFill>
              <a:latin typeface="+mn-lt"/>
              <a:ea typeface="+mn-ea"/>
              <a:cs typeface="+mn-cs"/>
            </a:endParaRPr>
          </a:p>
        </p:txBody>
      </p:sp>
      <p:sp>
        <p:nvSpPr>
          <p:cNvPr id="9" name="TextBox 1"/>
          <p:cNvSpPr txBox="1"/>
          <p:nvPr userDrawn="1"/>
        </p:nvSpPr>
        <p:spPr>
          <a:xfrm>
            <a:off x="711791" y="1115416"/>
            <a:ext cx="2693366" cy="87197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5333" b="1">
                <a:solidFill>
                  <a:schemeClr val="tx1"/>
                </a:solidFill>
                <a:latin typeface="+mn-lt"/>
                <a:ea typeface="+mn-ea"/>
                <a:cs typeface="+mn-cs"/>
              </a:rPr>
              <a:t>Agenda</a:t>
            </a:r>
          </a:p>
        </p:txBody>
      </p:sp>
    </p:spTree>
    <p:extLst>
      <p:ext uri="{BB962C8B-B14F-4D97-AF65-F5344CB8AC3E}">
        <p14:creationId xmlns:p14="http://schemas.microsoft.com/office/powerpoint/2010/main" val="24620576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Tree>
    <p:extLst>
      <p:ext uri="{BB962C8B-B14F-4D97-AF65-F5344CB8AC3E}">
        <p14:creationId xmlns:p14="http://schemas.microsoft.com/office/powerpoint/2010/main" val="11136483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Title 1"/>
          <p:cNvSpPr txBox="1">
            <a:spLocks/>
          </p:cNvSpPr>
          <p:nvPr userDrawn="1"/>
        </p:nvSpPr>
        <p:spPr>
          <a:xfrm>
            <a:off x="334433" y="622802"/>
            <a:ext cx="7485565" cy="3323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00" b="1">
                <a:solidFill>
                  <a:schemeClr val="tx1"/>
                </a:solidFill>
                <a:latin typeface="+mn-lt"/>
                <a:ea typeface="+mn-ea"/>
                <a:cs typeface="+mn-cs"/>
              </a:rPr>
              <a:t>Agenda</a:t>
            </a:r>
          </a:p>
        </p:txBody>
      </p:sp>
      <p:cxnSp>
        <p:nvCxnSpPr>
          <p:cNvPr id="9" name="Straight Connector 8"/>
          <p:cNvCxnSpPr/>
          <p:nvPr userDrawn="1"/>
        </p:nvCxnSpPr>
        <p:spPr bwMode="white">
          <a:xfrm>
            <a:off x="334436" y="1206000"/>
            <a:ext cx="11860769" cy="0"/>
          </a:xfrm>
          <a:prstGeom prst="line">
            <a:avLst/>
          </a:prstGeom>
          <a:ln w="9525" cmpd="sng">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96876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354095435"/>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0F2CDA2-5409-453C-8EBB-E65669BDC17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a:extLst>
                          <a:ext uri="{FF2B5EF4-FFF2-40B4-BE49-F238E27FC236}">
                            <a16:creationId xmlns:a16="http://schemas.microsoft.com/office/drawing/2014/main" id="{50F2CDA2-5409-453C-8EBB-E65669BDC17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20"/>
            <a:ext cx="8593667" cy="383115"/>
          </a:xfrm>
        </p:spPr>
        <p:txBody>
          <a:bodyPr lIns="0" tIns="0" rIns="0" bIns="0" anchor="t" anchorCtr="0">
            <a:normAutofit/>
          </a:bodyPr>
          <a:lstStyle>
            <a:lvl1pPr marL="0" indent="0">
              <a:buNone/>
              <a:defRPr sz="2400" b="1" i="0">
                <a:solidFill>
                  <a:srgbClr val="415064"/>
                </a:solidFill>
                <a:latin typeface="Univers Condensed" panose="020B0506020202050204" pitchFamily="34" charset="0"/>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ea typeface="+mn-ea"/>
              <a:cs typeface="+mn-cs"/>
            </a:endParaRPr>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5" y="3429001"/>
            <a:ext cx="3395133" cy="2285337"/>
          </a:xfrm>
          <a:prstGeom prst="rect">
            <a:avLst/>
          </a:prstGeom>
        </p:spPr>
        <p:txBody>
          <a:bodyPr vert="horz" wrap="none" lIns="121920" tIns="60960" rIns="121920" bIns="60960" rtlCol="0" anchor="b">
            <a:normAutofit/>
          </a:bodyPr>
          <a:lstStyle/>
          <a:p>
            <a:pPr algn="l"/>
            <a:endParaRPr lang="it-IT" sz="2400" b="0" i="0" dirty="0">
              <a:latin typeface="Univers Condensed" panose="020B0506020202050204" pitchFamily="34" charset="0"/>
              <a:ea typeface="+mn-ea"/>
              <a:cs typeface="+mn-cs"/>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5" y="1532966"/>
            <a:ext cx="2734733" cy="4488953"/>
          </a:xfrm>
        </p:spPr>
        <p:txBody>
          <a:bodyPr vert="horz" lIns="0" tIns="0" rIns="0" bIns="0" anchor="b" anchorCtr="0">
            <a:noAutofit/>
          </a:bodyPr>
          <a:lstStyle>
            <a:lvl1pPr algn="l">
              <a:lnSpc>
                <a:spcPct val="100000"/>
              </a:lnSpc>
              <a:defRPr sz="1333" b="0" i="0" baseline="0">
                <a:solidFill>
                  <a:srgbClr val="415064"/>
                </a:solidFill>
                <a:latin typeface="Univers Condensed" panose="020B0506020202050204" pitchFamily="34" charset="0"/>
                <a:ea typeface="+mj-ea"/>
                <a:cs typeface="+mj-cs"/>
              </a:defRPr>
            </a:lvl1pPr>
          </a:lstStyle>
          <a:p>
            <a:r>
              <a:rPr lang="it-IT" dirty="0"/>
              <a:t>Testo </a:t>
            </a:r>
            <a:r>
              <a:rPr lang="it-IT" dirty="0" err="1"/>
              <a:t>lorem</a:t>
            </a:r>
            <a:r>
              <a:rPr lang="it-IT" dirty="0"/>
              <a:t> </a:t>
            </a:r>
            <a:r>
              <a:rPr lang="it-IT" dirty="0" err="1"/>
              <a:t>ipsum</a:t>
            </a:r>
            <a:r>
              <a:rPr lang="it-IT" dirty="0"/>
              <a:t> dolor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sed do </a:t>
            </a:r>
            <a:r>
              <a:rPr lang="it-IT" dirty="0" err="1"/>
              <a:t>eiusmod</a:t>
            </a:r>
            <a:r>
              <a:rPr lang="it-IT" dirty="0"/>
              <a:t> </a:t>
            </a:r>
            <a:r>
              <a:rPr lang="it-IT" dirty="0" err="1"/>
              <a:t>tempor</a:t>
            </a:r>
            <a:r>
              <a:rPr lang="it-IT" dirty="0"/>
              <a:t> incidi </a:t>
            </a:r>
            <a:r>
              <a:rPr lang="it-IT" dirty="0" err="1"/>
              <a:t>dunt</a:t>
            </a:r>
            <a:r>
              <a:rPr lang="it-IT" dirty="0"/>
              <a:t> ut labore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commodo </a:t>
            </a:r>
            <a:r>
              <a:rPr lang="it-IT" dirty="0" err="1"/>
              <a:t>consequat</a:t>
            </a:r>
            <a:r>
              <a:rPr lang="it-IT" dirty="0"/>
              <a:t>. </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6"/>
            <a:ext cx="8593667" cy="4517804"/>
          </a:xfrm>
        </p:spPr>
        <p:txBody>
          <a:bodyPr lIns="91440" tIns="45720" rIns="91440" bIns="45720"/>
          <a:lstStyle>
            <a:lvl1pPr marL="231637" indent="-231637">
              <a:lnSpc>
                <a:spcPct val="90000"/>
              </a:lnSpc>
              <a:spcBef>
                <a:spcPts val="1053"/>
              </a:spcBef>
              <a:spcAft>
                <a:spcPts val="0"/>
              </a:spcAft>
              <a:buFont typeface="Arial" panose="020B0604020202020204" pitchFamily="34" charset="0"/>
              <a:buChar char="•"/>
              <a:defRPr sz="2667">
                <a:latin typeface="Univers Condensed" panose="020B0506020202050204" pitchFamily="34" charset="0"/>
                <a:ea typeface="+mn-ea"/>
                <a:cs typeface="+mn-cs"/>
              </a:defRPr>
            </a:lvl1pPr>
          </a:lstStyle>
          <a:p>
            <a:r>
              <a:rPr lang="en-US" dirty="0"/>
              <a:t>Click icon to add chart</a:t>
            </a:r>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5"/>
            <a:ext cx="8593667" cy="374649"/>
          </a:xfrm>
        </p:spPr>
        <p:txBody>
          <a:bodyPr lIns="0" tIns="0" rIns="0" bIns="0"/>
          <a:lstStyle>
            <a:lvl1pPr marL="0" indent="0">
              <a:buNone/>
              <a:defRPr lang="it-IT" sz="2133" b="0" i="0" kern="1200" dirty="0">
                <a:solidFill>
                  <a:srgbClr val="797979"/>
                </a:solidFill>
                <a:latin typeface="Univers Condensed" panose="020B0506020202050204" pitchFamily="34" charset="0"/>
                <a:ea typeface="+mn-ea"/>
                <a:cs typeface="+mn-cs"/>
              </a:defRPr>
            </a:lvl1pPr>
          </a:lstStyle>
          <a:p>
            <a:pPr lvl="0"/>
            <a:r>
              <a:rPr lang="it-IT" dirty="0"/>
              <a:t>Sottotitolo</a:t>
            </a:r>
          </a:p>
        </p:txBody>
      </p:sp>
    </p:spTree>
    <p:extLst>
      <p:ext uri="{BB962C8B-B14F-4D97-AF65-F5344CB8AC3E}">
        <p14:creationId xmlns:p14="http://schemas.microsoft.com/office/powerpoint/2010/main" val="2041664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0" name="TextBox 9"/>
          <p:cNvSpPr txBox="1"/>
          <p:nvPr userDrawn="1"/>
        </p:nvSpPr>
        <p:spPr>
          <a:xfrm>
            <a:off x="334435" y="3262147"/>
            <a:ext cx="2604075" cy="498598"/>
          </a:xfrm>
          <a:prstGeom prst="rect">
            <a:avLst/>
          </a:prstGeom>
          <a:noFill/>
        </p:spPr>
        <p:txBody>
          <a:bodyPr wrap="square" lIns="0" tIns="0" rIns="0" bIns="0" rtlCol="0" anchor="t">
            <a:spAutoFit/>
          </a:bodyPr>
          <a:lstStyle/>
          <a:p>
            <a:pPr>
              <a:lnSpc>
                <a:spcPct val="90000"/>
              </a:lnSpc>
              <a:spcAft>
                <a:spcPts val="600"/>
              </a:spcAft>
            </a:pPr>
            <a:r>
              <a:rPr lang="en-US" sz="3600" b="1">
                <a:solidFill>
                  <a:schemeClr val="bg1"/>
                </a:solidFill>
                <a:latin typeface="+mn-lt"/>
                <a:ea typeface="+mn-ea"/>
                <a:cs typeface="+mn-cs"/>
              </a:rPr>
              <a:t>Agenda</a:t>
            </a:r>
            <a:endParaRPr lang="en-US" sz="2800" b="1">
              <a:solidFill>
                <a:schemeClr val="bg1"/>
              </a:solidFill>
              <a:latin typeface="+mn-lt"/>
              <a:ea typeface="+mn-ea"/>
              <a:cs typeface="+mn-cs"/>
            </a:endParaRPr>
          </a:p>
        </p:txBody>
      </p:sp>
      <p:pic>
        <p:nvPicPr>
          <p:cNvPr id="9" name="Immagine 8">
            <a:extLst>
              <a:ext uri="{FF2B5EF4-FFF2-40B4-BE49-F238E27FC236}">
                <a16:creationId xmlns:a16="http://schemas.microsoft.com/office/drawing/2014/main" id="{D05425D2-1888-4155-A6DA-ADB37F60BB0F}"/>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1" name="Slide Number Placeholder 5">
            <a:extLst>
              <a:ext uri="{FF2B5EF4-FFF2-40B4-BE49-F238E27FC236}">
                <a16:creationId xmlns:a16="http://schemas.microsoft.com/office/drawing/2014/main" id="{D8EF095F-0C74-413E-B077-695231D6CEE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9555386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334435" y="2619809"/>
            <a:ext cx="3114967" cy="1678023"/>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333" b="1">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Immagine 8">
            <a:extLst>
              <a:ext uri="{FF2B5EF4-FFF2-40B4-BE49-F238E27FC236}">
                <a16:creationId xmlns:a16="http://schemas.microsoft.com/office/drawing/2014/main" id="{E3FB160C-3C63-487D-861B-3F0F9BAFFA9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BD1A5B44-9A6F-4630-9755-AD8C0258D8C4}"/>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5136774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9"/>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a:t>Titolo al massimo di tre righe</a:t>
            </a:r>
          </a:p>
        </p:txBody>
      </p:sp>
    </p:spTree>
    <p:extLst>
      <p:ext uri="{BB962C8B-B14F-4D97-AF65-F5344CB8AC3E}">
        <p14:creationId xmlns:p14="http://schemas.microsoft.com/office/powerpoint/2010/main" val="1109919315"/>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5" name="Immagin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3181"/>
            <a:ext cx="1377531" cy="617513"/>
          </a:xfrm>
          <a:prstGeom prst="rect">
            <a:avLst/>
          </a:prstGeom>
        </p:spPr>
      </p:pic>
    </p:spTree>
    <p:extLst>
      <p:ext uri="{BB962C8B-B14F-4D97-AF65-F5344CB8AC3E}">
        <p14:creationId xmlns:p14="http://schemas.microsoft.com/office/powerpoint/2010/main" val="3972502821"/>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7" name="Immagin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2473260467"/>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3876220007"/>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454046726"/>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247584705"/>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lvl1pPr>
              <a:defRPr/>
            </a:lvl1p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Univers Condensed" panose="020B050602020205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3726242770"/>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dirty="0">
                <a:latin typeface="Univers Condensed" panose="020B050602020205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latin typeface="Univers Condensed" panose="020B0506020202050204" pitchFamily="34" charset="0"/>
              </a:rPr>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3181"/>
            <a:ext cx="1377531" cy="617513"/>
          </a:xfrm>
          <a:prstGeom prst="rect">
            <a:avLst/>
          </a:prstGeom>
        </p:spPr>
      </p:pic>
    </p:spTree>
    <p:extLst>
      <p:ext uri="{BB962C8B-B14F-4D97-AF65-F5344CB8AC3E}">
        <p14:creationId xmlns:p14="http://schemas.microsoft.com/office/powerpoint/2010/main" val="2397710840"/>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B006113-DBA0-41EC-ACE3-6EBAF5AD006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0B006113-DBA0-41EC-ACE3-6EBAF5AD006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11" name="Title 10">
            <a:extLst>
              <a:ext uri="{FF2B5EF4-FFF2-40B4-BE49-F238E27FC236}">
                <a16:creationId xmlns:a16="http://schemas.microsoft.com/office/drawing/2014/main" id="{94E758CF-94C2-44F9-BBF9-9D816C20EEE2}"/>
              </a:ext>
            </a:extLst>
          </p:cNvPr>
          <p:cNvSpPr>
            <a:spLocks noGrp="1"/>
          </p:cNvSpPr>
          <p:nvPr>
            <p:ph type="title" hasCustomPrompt="1"/>
          </p:nvPr>
        </p:nvSpPr>
        <p:spPr>
          <a:xfrm>
            <a:off x="334435" y="357719"/>
            <a:ext cx="11523132" cy="443199"/>
          </a:xfrm>
        </p:spPr>
        <p:txBody>
          <a:bodyPr vert="horz">
            <a:spAutoFit/>
          </a:bodyPr>
          <a:lstStyle>
            <a:lvl1pPr>
              <a:defRPr sz="3200">
                <a:latin typeface="Univers Condensed" panose="020B0506020202050204" pitchFamily="34" charset="0"/>
                <a:ea typeface="+mj-ea"/>
                <a:cs typeface="+mj-cs"/>
              </a:defRPr>
            </a:lvl1pPr>
          </a:lstStyle>
          <a:p>
            <a:r>
              <a:rPr lang="en-US" dirty="0"/>
              <a:t>Click to add title</a:t>
            </a:r>
          </a:p>
        </p:txBody>
      </p:sp>
    </p:spTree>
    <p:extLst>
      <p:ext uri="{BB962C8B-B14F-4D97-AF65-F5344CB8AC3E}">
        <p14:creationId xmlns:p14="http://schemas.microsoft.com/office/powerpoint/2010/main" val="6608260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431737" y="2862183"/>
            <a:ext cx="6781393" cy="1533202"/>
          </a:xfrm>
        </p:spPr>
        <p:txBody>
          <a:bodyPr anchor="ctr" anchorCtr="0">
            <a:normAutofit/>
          </a:bodyPr>
          <a:lstStyle>
            <a:lvl1pPr algn="l">
              <a:defRPr sz="4460" b="1">
                <a:solidFill>
                  <a:srgbClr val="415464"/>
                </a:solidFill>
                <a:latin typeface="Arial" panose="020B0604020202020204" pitchFamily="34" charset="0"/>
                <a:cs typeface="Arial" panose="020B0604020202020204" pitchFamily="34" charset="0"/>
              </a:defRPr>
            </a:lvl1pPr>
          </a:lstStyle>
          <a:p>
            <a:r>
              <a:rPr lang="it-IT" dirty="0"/>
              <a:t>TITOLO </a:t>
            </a:r>
            <a:br>
              <a:rPr lang="it-IT" dirty="0"/>
            </a:br>
            <a:r>
              <a:rPr lang="it-IT" dirty="0"/>
              <a:t>PRINCIPALE</a:t>
            </a:r>
            <a:endParaRPr lang="en-US" dirty="0"/>
          </a:p>
        </p:txBody>
      </p:sp>
      <p:sp>
        <p:nvSpPr>
          <p:cNvPr id="3" name="Subtitle 2"/>
          <p:cNvSpPr>
            <a:spLocks noGrp="1"/>
          </p:cNvSpPr>
          <p:nvPr>
            <p:ph type="subTitle" idx="1" hasCustomPrompt="1"/>
          </p:nvPr>
        </p:nvSpPr>
        <p:spPr>
          <a:xfrm>
            <a:off x="2399927" y="4562535"/>
            <a:ext cx="6813203" cy="479541"/>
          </a:xfrm>
        </p:spPr>
        <p:txBody>
          <a:bodyPr/>
          <a:lstStyle>
            <a:lvl1pPr marL="0" indent="0" algn="l">
              <a:buNone/>
              <a:defRPr sz="2396">
                <a:solidFill>
                  <a:srgbClr val="415464"/>
                </a:solidFill>
                <a:latin typeface="Arial" panose="020B0604020202020204" pitchFamily="34" charset="0"/>
                <a:cs typeface="Arial" panose="020B0604020202020204" pitchFamily="34" charset="0"/>
              </a:defRPr>
            </a:lvl1pPr>
            <a:lvl2pPr marL="456503" indent="0" algn="ctr">
              <a:buNone/>
              <a:defRPr sz="1997"/>
            </a:lvl2pPr>
            <a:lvl3pPr marL="913006" indent="0" algn="ctr">
              <a:buNone/>
              <a:defRPr sz="1797"/>
            </a:lvl3pPr>
            <a:lvl4pPr marL="1369508" indent="0" algn="ctr">
              <a:buNone/>
              <a:defRPr sz="1598"/>
            </a:lvl4pPr>
            <a:lvl5pPr marL="1826011" indent="0" algn="ctr">
              <a:buNone/>
              <a:defRPr sz="1598"/>
            </a:lvl5pPr>
            <a:lvl6pPr marL="2282514" indent="0" algn="ctr">
              <a:buNone/>
              <a:defRPr sz="1598"/>
            </a:lvl6pPr>
            <a:lvl7pPr marL="2739017" indent="0" algn="ctr">
              <a:buNone/>
              <a:defRPr sz="1598"/>
            </a:lvl7pPr>
            <a:lvl8pPr marL="3195519" indent="0" algn="ctr">
              <a:buNone/>
              <a:defRPr sz="1598"/>
            </a:lvl8pPr>
            <a:lvl9pPr marL="3652022" indent="0" algn="ctr">
              <a:buNone/>
              <a:defRPr sz="1598"/>
            </a:lvl9pPr>
          </a:lstStyle>
          <a:p>
            <a:r>
              <a:rPr lang="it-IT" dirty="0"/>
              <a:t>Sottotitolo</a:t>
            </a:r>
            <a:endParaRPr lang="en-US" dirty="0"/>
          </a:p>
        </p:txBody>
      </p:sp>
      <p:sp>
        <p:nvSpPr>
          <p:cNvPr id="16" name="bg object 16">
            <a:extLst>
              <a:ext uri="{FF2B5EF4-FFF2-40B4-BE49-F238E27FC236}">
                <a16:creationId xmlns:a16="http://schemas.microsoft.com/office/drawing/2014/main" id="{A6C11CD4-CAD8-E7DA-7E53-7C2DD3805E2F}"/>
              </a:ext>
            </a:extLst>
          </p:cNvPr>
          <p:cNvSpPr/>
          <p:nvPr userDrawn="1"/>
        </p:nvSpPr>
        <p:spPr>
          <a:xfrm>
            <a:off x="1" y="1919428"/>
            <a:ext cx="288713" cy="1773570"/>
          </a:xfrm>
          <a:custGeom>
            <a:avLst/>
            <a:gdLst/>
            <a:ahLst/>
            <a:cxnLst/>
            <a:rect l="l" t="t" r="r" b="b"/>
            <a:pathLst>
              <a:path w="216535" h="1332230">
                <a:moveTo>
                  <a:pt x="216001" y="0"/>
                </a:moveTo>
                <a:lnTo>
                  <a:pt x="0" y="0"/>
                </a:lnTo>
                <a:lnTo>
                  <a:pt x="0" y="1332001"/>
                </a:lnTo>
                <a:lnTo>
                  <a:pt x="216001" y="1332001"/>
                </a:lnTo>
                <a:lnTo>
                  <a:pt x="216001" y="0"/>
                </a:lnTo>
                <a:close/>
              </a:path>
            </a:pathLst>
          </a:custGeom>
          <a:solidFill>
            <a:srgbClr val="6A96CF"/>
          </a:solidFill>
        </p:spPr>
        <p:txBody>
          <a:bodyPr wrap="square" lIns="0" tIns="0" rIns="0" bIns="0" rtlCol="0"/>
          <a:lstStyle/>
          <a:p>
            <a:endParaRPr sz="2396"/>
          </a:p>
        </p:txBody>
      </p:sp>
      <p:sp>
        <p:nvSpPr>
          <p:cNvPr id="17" name="bg object 17">
            <a:extLst>
              <a:ext uri="{FF2B5EF4-FFF2-40B4-BE49-F238E27FC236}">
                <a16:creationId xmlns:a16="http://schemas.microsoft.com/office/drawing/2014/main" id="{071A87A4-04B1-35D0-453A-6E38AD9F3B7B}"/>
              </a:ext>
            </a:extLst>
          </p:cNvPr>
          <p:cNvSpPr/>
          <p:nvPr userDrawn="1"/>
        </p:nvSpPr>
        <p:spPr>
          <a:xfrm>
            <a:off x="288001" y="2252517"/>
            <a:ext cx="1056640" cy="3019633"/>
          </a:xfrm>
          <a:custGeom>
            <a:avLst/>
            <a:gdLst/>
            <a:ahLst/>
            <a:cxnLst/>
            <a:rect l="l" t="t" r="r" b="b"/>
            <a:pathLst>
              <a:path w="792480" h="2268220">
                <a:moveTo>
                  <a:pt x="791997" y="0"/>
                </a:moveTo>
                <a:lnTo>
                  <a:pt x="0" y="0"/>
                </a:lnTo>
                <a:lnTo>
                  <a:pt x="0" y="2268004"/>
                </a:lnTo>
                <a:lnTo>
                  <a:pt x="791997" y="2268004"/>
                </a:lnTo>
                <a:lnTo>
                  <a:pt x="791997" y="0"/>
                </a:lnTo>
                <a:close/>
              </a:path>
            </a:pathLst>
          </a:custGeom>
          <a:solidFill>
            <a:srgbClr val="009640"/>
          </a:solidFill>
        </p:spPr>
        <p:txBody>
          <a:bodyPr wrap="square" lIns="0" tIns="0" rIns="0" bIns="0" rtlCol="0"/>
          <a:lstStyle/>
          <a:p>
            <a:endParaRPr sz="2396"/>
          </a:p>
        </p:txBody>
      </p:sp>
      <p:sp>
        <p:nvSpPr>
          <p:cNvPr id="18" name="bg object 18">
            <a:extLst>
              <a:ext uri="{FF2B5EF4-FFF2-40B4-BE49-F238E27FC236}">
                <a16:creationId xmlns:a16="http://schemas.microsoft.com/office/drawing/2014/main" id="{EF587250-4AE5-E735-D0C7-AD57A720906C}"/>
              </a:ext>
            </a:extLst>
          </p:cNvPr>
          <p:cNvSpPr/>
          <p:nvPr userDrawn="1"/>
        </p:nvSpPr>
        <p:spPr>
          <a:xfrm>
            <a:off x="1343999" y="2849209"/>
            <a:ext cx="252307" cy="2192868"/>
          </a:xfrm>
          <a:custGeom>
            <a:avLst/>
            <a:gdLst/>
            <a:ahLst/>
            <a:cxnLst/>
            <a:rect l="l" t="t" r="r" b="b"/>
            <a:pathLst>
              <a:path w="189230" h="1647189">
                <a:moveTo>
                  <a:pt x="189001" y="0"/>
                </a:moveTo>
                <a:lnTo>
                  <a:pt x="0" y="0"/>
                </a:lnTo>
                <a:lnTo>
                  <a:pt x="0" y="1646999"/>
                </a:lnTo>
                <a:lnTo>
                  <a:pt x="189001" y="1646999"/>
                </a:lnTo>
                <a:lnTo>
                  <a:pt x="189001" y="0"/>
                </a:lnTo>
                <a:close/>
              </a:path>
            </a:pathLst>
          </a:custGeom>
          <a:solidFill>
            <a:srgbClr val="E30613"/>
          </a:solidFill>
        </p:spPr>
        <p:txBody>
          <a:bodyPr wrap="square" lIns="0" tIns="0" rIns="0" bIns="0" rtlCol="0"/>
          <a:lstStyle/>
          <a:p>
            <a:endParaRPr sz="2396"/>
          </a:p>
        </p:txBody>
      </p:sp>
      <p:pic>
        <p:nvPicPr>
          <p:cNvPr id="21" name="Immagine 20" descr="Immagine che contiene testo, Carattere, schermata, Elementi grafici&#10;&#10;Il contenuto generato dall'IA potrebbe non essere corretto.">
            <a:extLst>
              <a:ext uri="{FF2B5EF4-FFF2-40B4-BE49-F238E27FC236}">
                <a16:creationId xmlns:a16="http://schemas.microsoft.com/office/drawing/2014/main" id="{DB4493E8-8925-07AB-0BDD-B5B039AF3316}"/>
              </a:ext>
            </a:extLst>
          </p:cNvPr>
          <p:cNvPicPr>
            <a:picLocks noChangeAspect="1"/>
          </p:cNvPicPr>
          <p:nvPr userDrawn="1"/>
        </p:nvPicPr>
        <p:blipFill>
          <a:blip r:embed="rId2"/>
          <a:stretch>
            <a:fillRect/>
          </a:stretch>
        </p:blipFill>
        <p:spPr>
          <a:xfrm>
            <a:off x="9213129" y="396121"/>
            <a:ext cx="2435443" cy="1211549"/>
          </a:xfrm>
          <a:prstGeom prst="rect">
            <a:avLst/>
          </a:prstGeom>
        </p:spPr>
      </p:pic>
      <p:grpSp>
        <p:nvGrpSpPr>
          <p:cNvPr id="24" name="Gruppo 23">
            <a:extLst>
              <a:ext uri="{FF2B5EF4-FFF2-40B4-BE49-F238E27FC236}">
                <a16:creationId xmlns:a16="http://schemas.microsoft.com/office/drawing/2014/main" id="{28824B4C-BD67-519E-8B61-517B7BE892EB}"/>
              </a:ext>
            </a:extLst>
          </p:cNvPr>
          <p:cNvGrpSpPr/>
          <p:nvPr userDrawn="1"/>
        </p:nvGrpSpPr>
        <p:grpSpPr>
          <a:xfrm>
            <a:off x="11184928" y="3438746"/>
            <a:ext cx="1007073" cy="3419254"/>
            <a:chOff x="6679029" y="2583040"/>
            <a:chExt cx="755305" cy="2568398"/>
          </a:xfrm>
        </p:grpSpPr>
        <p:sp>
          <p:nvSpPr>
            <p:cNvPr id="22" name="Rettangolo 21">
              <a:extLst>
                <a:ext uri="{FF2B5EF4-FFF2-40B4-BE49-F238E27FC236}">
                  <a16:creationId xmlns:a16="http://schemas.microsoft.com/office/drawing/2014/main" id="{2B3A30BC-E04C-1B9F-2517-A8FA33DF7BE8}"/>
                </a:ext>
              </a:extLst>
            </p:cNvPr>
            <p:cNvSpPr/>
            <p:nvPr userDrawn="1"/>
          </p:nvSpPr>
          <p:spPr>
            <a:xfrm>
              <a:off x="6679029" y="2912882"/>
              <a:ext cx="504000" cy="2238556"/>
            </a:xfrm>
            <a:prstGeom prst="rect">
              <a:avLst/>
            </a:prstGeom>
            <a:solidFill>
              <a:srgbClr val="E17B1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396"/>
            </a:p>
          </p:txBody>
        </p:sp>
        <p:sp>
          <p:nvSpPr>
            <p:cNvPr id="23" name="Rettangolo 22">
              <a:extLst>
                <a:ext uri="{FF2B5EF4-FFF2-40B4-BE49-F238E27FC236}">
                  <a16:creationId xmlns:a16="http://schemas.microsoft.com/office/drawing/2014/main" id="{4B0821F7-4756-F50B-FB1A-4B3F7DB81F69}"/>
                </a:ext>
              </a:extLst>
            </p:cNvPr>
            <p:cNvSpPr/>
            <p:nvPr userDrawn="1"/>
          </p:nvSpPr>
          <p:spPr>
            <a:xfrm>
              <a:off x="7182334" y="2583040"/>
              <a:ext cx="252000" cy="2568398"/>
            </a:xfrm>
            <a:prstGeom prst="rect">
              <a:avLst/>
            </a:prstGeom>
            <a:solidFill>
              <a:srgbClr val="E3061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396"/>
            </a:p>
          </p:txBody>
        </p:sp>
      </p:grpSp>
    </p:spTree>
    <p:extLst>
      <p:ext uri="{BB962C8B-B14F-4D97-AF65-F5344CB8AC3E}">
        <p14:creationId xmlns:p14="http://schemas.microsoft.com/office/powerpoint/2010/main" val="8260232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Diapositiva tito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485720" y="383406"/>
            <a:ext cx="6781393" cy="1486146"/>
          </a:xfrm>
        </p:spPr>
        <p:txBody>
          <a:bodyPr lIns="0" tIns="0" rIns="0" bIns="0" anchor="ctr" anchorCtr="0">
            <a:normAutofit/>
          </a:bodyPr>
          <a:lstStyle>
            <a:lvl1pPr algn="l">
              <a:defRPr sz="4460" b="1">
                <a:solidFill>
                  <a:srgbClr val="415464"/>
                </a:solidFill>
                <a:latin typeface="Arial" panose="020B0604020202020204" pitchFamily="34" charset="0"/>
                <a:cs typeface="Arial" panose="020B0604020202020204" pitchFamily="34" charset="0"/>
              </a:defRPr>
            </a:lvl1pPr>
          </a:lstStyle>
          <a:p>
            <a:r>
              <a:rPr lang="it-IT" dirty="0"/>
              <a:t>Indice</a:t>
            </a:r>
            <a:endParaRPr lang="en-US" dirty="0"/>
          </a:p>
        </p:txBody>
      </p:sp>
      <p:grpSp>
        <p:nvGrpSpPr>
          <p:cNvPr id="24" name="Gruppo 23">
            <a:extLst>
              <a:ext uri="{FF2B5EF4-FFF2-40B4-BE49-F238E27FC236}">
                <a16:creationId xmlns:a16="http://schemas.microsoft.com/office/drawing/2014/main" id="{28824B4C-BD67-519E-8B61-517B7BE892EB}"/>
              </a:ext>
            </a:extLst>
          </p:cNvPr>
          <p:cNvGrpSpPr/>
          <p:nvPr userDrawn="1"/>
        </p:nvGrpSpPr>
        <p:grpSpPr>
          <a:xfrm>
            <a:off x="11184928" y="3438746"/>
            <a:ext cx="1007073" cy="3419254"/>
            <a:chOff x="6679029" y="2583040"/>
            <a:chExt cx="755305" cy="2568398"/>
          </a:xfrm>
        </p:grpSpPr>
        <p:sp>
          <p:nvSpPr>
            <p:cNvPr id="22" name="Rettangolo 21">
              <a:extLst>
                <a:ext uri="{FF2B5EF4-FFF2-40B4-BE49-F238E27FC236}">
                  <a16:creationId xmlns:a16="http://schemas.microsoft.com/office/drawing/2014/main" id="{2B3A30BC-E04C-1B9F-2517-A8FA33DF7BE8}"/>
                </a:ext>
              </a:extLst>
            </p:cNvPr>
            <p:cNvSpPr/>
            <p:nvPr userDrawn="1"/>
          </p:nvSpPr>
          <p:spPr>
            <a:xfrm>
              <a:off x="6679029" y="2912882"/>
              <a:ext cx="504000" cy="2238556"/>
            </a:xfrm>
            <a:prstGeom prst="rect">
              <a:avLst/>
            </a:prstGeom>
            <a:solidFill>
              <a:srgbClr val="E17B1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396"/>
            </a:p>
          </p:txBody>
        </p:sp>
        <p:sp>
          <p:nvSpPr>
            <p:cNvPr id="23" name="Rettangolo 22">
              <a:extLst>
                <a:ext uri="{FF2B5EF4-FFF2-40B4-BE49-F238E27FC236}">
                  <a16:creationId xmlns:a16="http://schemas.microsoft.com/office/drawing/2014/main" id="{4B0821F7-4756-F50B-FB1A-4B3F7DB81F69}"/>
                </a:ext>
              </a:extLst>
            </p:cNvPr>
            <p:cNvSpPr/>
            <p:nvPr userDrawn="1"/>
          </p:nvSpPr>
          <p:spPr>
            <a:xfrm>
              <a:off x="7182334" y="2583040"/>
              <a:ext cx="252000" cy="2568398"/>
            </a:xfrm>
            <a:prstGeom prst="rect">
              <a:avLst/>
            </a:prstGeom>
            <a:solidFill>
              <a:srgbClr val="E3061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396"/>
            </a:p>
          </p:txBody>
        </p:sp>
      </p:grpSp>
      <p:pic>
        <p:nvPicPr>
          <p:cNvPr id="11" name="Immagine 10" descr="Immagine che contiene testo, Carattere, schermata, Elementi grafici&#10;&#10;Il contenuto generato dall'IA potrebbe non essere corretto.">
            <a:extLst>
              <a:ext uri="{FF2B5EF4-FFF2-40B4-BE49-F238E27FC236}">
                <a16:creationId xmlns:a16="http://schemas.microsoft.com/office/drawing/2014/main" id="{911B4A1E-AB56-723F-A7BE-94749842CCE8}"/>
              </a:ext>
            </a:extLst>
          </p:cNvPr>
          <p:cNvPicPr>
            <a:picLocks noChangeAspect="1"/>
          </p:cNvPicPr>
          <p:nvPr userDrawn="1"/>
        </p:nvPicPr>
        <p:blipFill>
          <a:blip r:embed="rId2"/>
          <a:stretch>
            <a:fillRect/>
          </a:stretch>
        </p:blipFill>
        <p:spPr>
          <a:xfrm>
            <a:off x="10143241" y="599008"/>
            <a:ext cx="1708531" cy="849935"/>
          </a:xfrm>
          <a:prstGeom prst="rect">
            <a:avLst/>
          </a:prstGeom>
        </p:spPr>
      </p:pic>
      <p:grpSp>
        <p:nvGrpSpPr>
          <p:cNvPr id="12" name="object 5">
            <a:extLst>
              <a:ext uri="{FF2B5EF4-FFF2-40B4-BE49-F238E27FC236}">
                <a16:creationId xmlns:a16="http://schemas.microsoft.com/office/drawing/2014/main" id="{E9AD13E2-3CA2-B04F-1B6C-7F7D4D402FC5}"/>
              </a:ext>
            </a:extLst>
          </p:cNvPr>
          <p:cNvGrpSpPr/>
          <p:nvPr userDrawn="1"/>
        </p:nvGrpSpPr>
        <p:grpSpPr>
          <a:xfrm>
            <a:off x="659994" y="0"/>
            <a:ext cx="480060" cy="1869941"/>
            <a:chOff x="494995" y="0"/>
            <a:chExt cx="360045" cy="1404620"/>
          </a:xfrm>
        </p:grpSpPr>
        <p:sp>
          <p:nvSpPr>
            <p:cNvPr id="13" name="object 6">
              <a:extLst>
                <a:ext uri="{FF2B5EF4-FFF2-40B4-BE49-F238E27FC236}">
                  <a16:creationId xmlns:a16="http://schemas.microsoft.com/office/drawing/2014/main" id="{3323FC68-95F8-C66E-54AA-F3877C4DE74F}"/>
                </a:ext>
              </a:extLst>
            </p:cNvPr>
            <p:cNvSpPr/>
            <p:nvPr/>
          </p:nvSpPr>
          <p:spPr>
            <a:xfrm>
              <a:off x="675005" y="287998"/>
              <a:ext cx="180340" cy="1116330"/>
            </a:xfrm>
            <a:custGeom>
              <a:avLst/>
              <a:gdLst/>
              <a:ahLst/>
              <a:cxnLst/>
              <a:rect l="l" t="t" r="r" b="b"/>
              <a:pathLst>
                <a:path w="180340" h="1116330">
                  <a:moveTo>
                    <a:pt x="179997" y="0"/>
                  </a:moveTo>
                  <a:lnTo>
                    <a:pt x="0" y="0"/>
                  </a:lnTo>
                  <a:lnTo>
                    <a:pt x="0" y="1115999"/>
                  </a:lnTo>
                  <a:lnTo>
                    <a:pt x="179997" y="1115999"/>
                  </a:lnTo>
                  <a:lnTo>
                    <a:pt x="179997" y="0"/>
                  </a:lnTo>
                  <a:close/>
                </a:path>
              </a:pathLst>
            </a:custGeom>
            <a:solidFill>
              <a:srgbClr val="E30514"/>
            </a:solidFill>
          </p:spPr>
          <p:txBody>
            <a:bodyPr wrap="square" lIns="0" tIns="0" rIns="0" bIns="0" rtlCol="0"/>
            <a:lstStyle/>
            <a:p>
              <a:endParaRPr sz="2396"/>
            </a:p>
          </p:txBody>
        </p:sp>
        <p:sp>
          <p:nvSpPr>
            <p:cNvPr id="14" name="object 7">
              <a:extLst>
                <a:ext uri="{FF2B5EF4-FFF2-40B4-BE49-F238E27FC236}">
                  <a16:creationId xmlns:a16="http://schemas.microsoft.com/office/drawing/2014/main" id="{C00CD662-6A92-E812-C7E0-7582EB823753}"/>
                </a:ext>
              </a:extLst>
            </p:cNvPr>
            <p:cNvSpPr/>
            <p:nvPr/>
          </p:nvSpPr>
          <p:spPr>
            <a:xfrm>
              <a:off x="494995" y="0"/>
              <a:ext cx="180340" cy="1152525"/>
            </a:xfrm>
            <a:custGeom>
              <a:avLst/>
              <a:gdLst/>
              <a:ahLst/>
              <a:cxnLst/>
              <a:rect l="l" t="t" r="r" b="b"/>
              <a:pathLst>
                <a:path w="180340" h="1152525">
                  <a:moveTo>
                    <a:pt x="179997" y="0"/>
                  </a:moveTo>
                  <a:lnTo>
                    <a:pt x="0" y="0"/>
                  </a:lnTo>
                  <a:lnTo>
                    <a:pt x="0" y="1152004"/>
                  </a:lnTo>
                  <a:lnTo>
                    <a:pt x="179997" y="1152004"/>
                  </a:lnTo>
                  <a:lnTo>
                    <a:pt x="179997" y="0"/>
                  </a:lnTo>
                  <a:close/>
                </a:path>
              </a:pathLst>
            </a:custGeom>
            <a:solidFill>
              <a:srgbClr val="009640"/>
            </a:solidFill>
          </p:spPr>
          <p:txBody>
            <a:bodyPr wrap="square" lIns="0" tIns="0" rIns="0" bIns="0" rtlCol="0"/>
            <a:lstStyle/>
            <a:p>
              <a:endParaRPr sz="2396"/>
            </a:p>
          </p:txBody>
        </p:sp>
      </p:grpSp>
      <p:sp>
        <p:nvSpPr>
          <p:cNvPr id="19" name="Segnaposto testo 18">
            <a:extLst>
              <a:ext uri="{FF2B5EF4-FFF2-40B4-BE49-F238E27FC236}">
                <a16:creationId xmlns:a16="http://schemas.microsoft.com/office/drawing/2014/main" id="{5ECD0C50-F92E-B889-1E58-8692782D0578}"/>
              </a:ext>
            </a:extLst>
          </p:cNvPr>
          <p:cNvSpPr>
            <a:spLocks noGrp="1"/>
          </p:cNvSpPr>
          <p:nvPr>
            <p:ph type="body" sz="quarter" idx="10"/>
          </p:nvPr>
        </p:nvSpPr>
        <p:spPr>
          <a:xfrm>
            <a:off x="1485901" y="2396302"/>
            <a:ext cx="8657167" cy="2980142"/>
          </a:xfrm>
        </p:spPr>
        <p:txBody>
          <a:bodyPr lIns="0" tIns="0" rIns="0" bIns="0" numCol="2" spcCol="180000">
            <a:normAutofit/>
          </a:bodyPr>
          <a:lstStyle>
            <a:lvl1pPr marL="456503" indent="-456503">
              <a:buFont typeface="+mj-lt"/>
              <a:buAutoNum type="arabicPeriod"/>
              <a:defRPr sz="1864">
                <a:solidFill>
                  <a:srgbClr val="415464"/>
                </a:solidFill>
                <a:latin typeface="Arial" panose="020B0604020202020204" pitchFamily="34" charset="0"/>
                <a:cs typeface="Arial" panose="020B0604020202020204" pitchFamily="34" charset="0"/>
              </a:defRPr>
            </a:lvl1pPr>
            <a:lvl2pPr marL="456503" indent="0">
              <a:buNone/>
              <a:defRPr sz="1598">
                <a:latin typeface="Arial" panose="020B0604020202020204" pitchFamily="34" charset="0"/>
                <a:cs typeface="Arial" panose="020B0604020202020204" pitchFamily="34" charset="0"/>
              </a:defRPr>
            </a:lvl2pPr>
            <a:lvl3pPr marL="913006" indent="0">
              <a:buNone/>
              <a:defRPr sz="1864">
                <a:latin typeface="Arial" panose="020B0604020202020204" pitchFamily="34" charset="0"/>
                <a:cs typeface="Arial" panose="020B0604020202020204" pitchFamily="34" charset="0"/>
              </a:defRPr>
            </a:lvl3pPr>
            <a:lvl4pPr marL="1369508" indent="0">
              <a:buNone/>
              <a:defRPr sz="1864">
                <a:latin typeface="Arial" panose="020B0604020202020204" pitchFamily="34" charset="0"/>
                <a:cs typeface="Arial" panose="020B0604020202020204" pitchFamily="34" charset="0"/>
              </a:defRPr>
            </a:lvl4pPr>
            <a:lvl5pPr marL="1826011" indent="0">
              <a:buNone/>
              <a:defRPr sz="1864">
                <a:latin typeface="Arial" panose="020B0604020202020204" pitchFamily="34" charset="0"/>
                <a:cs typeface="Arial" panose="020B0604020202020204" pitchFamily="34" charset="0"/>
              </a:defRPr>
            </a:lvl5pPr>
          </a:lstStyle>
          <a:p>
            <a:pPr lvl="0"/>
            <a:r>
              <a:rPr lang="it-IT" dirty="0"/>
              <a:t>Fare clic per modificare gli stili del testo dello schema</a:t>
            </a:r>
          </a:p>
          <a:p>
            <a:pPr lvl="1"/>
            <a:r>
              <a:rPr lang="it-IT" dirty="0"/>
              <a:t>Secondo livello</a:t>
            </a:r>
          </a:p>
          <a:p>
            <a:pPr lvl="0"/>
            <a:r>
              <a:rPr lang="it-IT" dirty="0"/>
              <a:t>Fare clic per modificare gli stili del testo dello schema</a:t>
            </a:r>
          </a:p>
          <a:p>
            <a:pPr lvl="1"/>
            <a:r>
              <a:rPr lang="it-IT" dirty="0"/>
              <a:t>Secondo livello</a:t>
            </a:r>
          </a:p>
          <a:p>
            <a:pPr lvl="0"/>
            <a:r>
              <a:rPr lang="it-IT" dirty="0"/>
              <a:t>Fare clic per modificare gli stili del testo dello schema</a:t>
            </a:r>
          </a:p>
          <a:p>
            <a:pPr lvl="1"/>
            <a:r>
              <a:rPr lang="it-IT" dirty="0"/>
              <a:t>Secondo livello</a:t>
            </a:r>
          </a:p>
          <a:p>
            <a:pPr lvl="0"/>
            <a:r>
              <a:rPr lang="it-IT" dirty="0"/>
              <a:t>Fare clic per modificare gli stili del testo dello schema</a:t>
            </a:r>
          </a:p>
          <a:p>
            <a:pPr lvl="1"/>
            <a:r>
              <a:rPr lang="it-IT" dirty="0"/>
              <a:t>Secondo livello</a:t>
            </a:r>
          </a:p>
          <a:p>
            <a:pPr lvl="0"/>
            <a:r>
              <a:rPr lang="it-IT" dirty="0"/>
              <a:t>Fare clic per modificare gli stili del testo dello schema</a:t>
            </a:r>
          </a:p>
          <a:p>
            <a:pPr lvl="1"/>
            <a:r>
              <a:rPr lang="it-IT" dirty="0"/>
              <a:t>Secondo livello</a:t>
            </a:r>
          </a:p>
          <a:p>
            <a:pPr lvl="0"/>
            <a:r>
              <a:rPr lang="it-IT" dirty="0"/>
              <a:t>Fare clic per modificare gli stili del testo dello schema</a:t>
            </a:r>
          </a:p>
          <a:p>
            <a:pPr lvl="1"/>
            <a:r>
              <a:rPr lang="it-IT" dirty="0"/>
              <a:t>Secondo livello</a:t>
            </a:r>
          </a:p>
          <a:p>
            <a:pPr lvl="1"/>
            <a:endParaRPr lang="it-IT" dirty="0"/>
          </a:p>
        </p:txBody>
      </p:sp>
      <p:sp>
        <p:nvSpPr>
          <p:cNvPr id="7" name="Date Placeholder 3">
            <a:extLst>
              <a:ext uri="{FF2B5EF4-FFF2-40B4-BE49-F238E27FC236}">
                <a16:creationId xmlns:a16="http://schemas.microsoft.com/office/drawing/2014/main" id="{E2095047-8667-93EA-0549-CD6596F50293}"/>
              </a:ext>
            </a:extLst>
          </p:cNvPr>
          <p:cNvSpPr>
            <a:spLocks noGrp="1"/>
          </p:cNvSpPr>
          <p:nvPr>
            <p:ph type="dt" sz="half" idx="2"/>
          </p:nvPr>
        </p:nvSpPr>
        <p:spPr>
          <a:xfrm>
            <a:off x="9239724" y="6356350"/>
            <a:ext cx="1146779" cy="365125"/>
          </a:xfrm>
          <a:prstGeom prst="rect">
            <a:avLst/>
          </a:prstGeom>
        </p:spPr>
        <p:txBody>
          <a:bodyPr vert="horz" lIns="91440" tIns="45720" rIns="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fld id="{863863F6-12C9-FD48-AA9B-D33618BDA835}" type="datetime1">
              <a:rPr lang="it-IT" smtClean="0"/>
              <a:t>19/02/2026</a:t>
            </a:fld>
            <a:endParaRPr lang="it-IT" dirty="0"/>
          </a:p>
        </p:txBody>
      </p:sp>
      <p:sp>
        <p:nvSpPr>
          <p:cNvPr id="8" name="Footer Placeholder 4">
            <a:extLst>
              <a:ext uri="{FF2B5EF4-FFF2-40B4-BE49-F238E27FC236}">
                <a16:creationId xmlns:a16="http://schemas.microsoft.com/office/drawing/2014/main" id="{DA3C8D9A-04F1-FC7B-630F-DF47DD550143}"/>
              </a:ext>
            </a:extLst>
          </p:cNvPr>
          <p:cNvSpPr>
            <a:spLocks noGrp="1"/>
          </p:cNvSpPr>
          <p:nvPr>
            <p:ph type="ftr" sz="quarter" idx="3"/>
          </p:nvPr>
        </p:nvSpPr>
        <p:spPr>
          <a:xfrm>
            <a:off x="1984980" y="6356350"/>
            <a:ext cx="7254745" cy="365125"/>
          </a:xfrm>
          <a:prstGeom prst="rect">
            <a:avLst/>
          </a:prstGeom>
        </p:spPr>
        <p:txBody>
          <a:bodyPr vert="horz" lIns="91440" tIns="45720" rIns="9144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endParaRPr lang="it-IT" dirty="0"/>
          </a:p>
        </p:txBody>
      </p:sp>
      <p:sp>
        <p:nvSpPr>
          <p:cNvPr id="9" name="Slide Number Placeholder 5">
            <a:extLst>
              <a:ext uri="{FF2B5EF4-FFF2-40B4-BE49-F238E27FC236}">
                <a16:creationId xmlns:a16="http://schemas.microsoft.com/office/drawing/2014/main" id="{081F5F04-9ACB-900A-0AAF-3E3E936F48BC}"/>
              </a:ext>
            </a:extLst>
          </p:cNvPr>
          <p:cNvSpPr>
            <a:spLocks noGrp="1"/>
          </p:cNvSpPr>
          <p:nvPr>
            <p:ph type="sldNum" sz="quarter" idx="4"/>
          </p:nvPr>
        </p:nvSpPr>
        <p:spPr>
          <a:xfrm>
            <a:off x="838200" y="6356350"/>
            <a:ext cx="1146779" cy="365125"/>
          </a:xfrm>
          <a:prstGeom prst="rect">
            <a:avLst/>
          </a:prstGeom>
        </p:spPr>
        <p:txBody>
          <a:bodyPr vert="horz" lIns="0" tIns="45720" rIns="91440" bIns="45720" rtlCol="0" anchor="ctr"/>
          <a:lstStyle>
            <a:lvl1pPr algn="l">
              <a:defRPr sz="1065" b="1">
                <a:solidFill>
                  <a:schemeClr val="tx1">
                    <a:tint val="82000"/>
                  </a:schemeClr>
                </a:solidFill>
                <a:latin typeface="Arial" panose="020B0604020202020204" pitchFamily="34" charset="0"/>
                <a:cs typeface="Arial" panose="020B0604020202020204" pitchFamily="34" charset="0"/>
              </a:defRPr>
            </a:lvl1pPr>
          </a:lstStyle>
          <a:p>
            <a:fld id="{3DC449BC-E673-2243-8924-E6398E7E2D4C}" type="slidenum">
              <a:rPr lang="it-IT" smtClean="0"/>
              <a:pPr/>
              <a:t>‹N›</a:t>
            </a:fld>
            <a:endParaRPr lang="it-IT" dirty="0"/>
          </a:p>
        </p:txBody>
      </p:sp>
    </p:spTree>
    <p:extLst>
      <p:ext uri="{BB962C8B-B14F-4D97-AF65-F5344CB8AC3E}">
        <p14:creationId xmlns:p14="http://schemas.microsoft.com/office/powerpoint/2010/main" val="232319512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2_Diapositiva titolo">
    <p:spTree>
      <p:nvGrpSpPr>
        <p:cNvPr id="1" name=""/>
        <p:cNvGrpSpPr/>
        <p:nvPr/>
      </p:nvGrpSpPr>
      <p:grpSpPr>
        <a:xfrm>
          <a:off x="0" y="0"/>
          <a:ext cx="0" cy="0"/>
          <a:chOff x="0" y="0"/>
          <a:chExt cx="0" cy="0"/>
        </a:xfrm>
      </p:grpSpPr>
      <p:pic>
        <p:nvPicPr>
          <p:cNvPr id="11" name="Immagine 10" descr="Immagine che contiene testo, Carattere, schermata, Elementi grafici&#10;&#10;Il contenuto generato dall'IA potrebbe non essere corretto.">
            <a:extLst>
              <a:ext uri="{FF2B5EF4-FFF2-40B4-BE49-F238E27FC236}">
                <a16:creationId xmlns:a16="http://schemas.microsoft.com/office/drawing/2014/main" id="{911B4A1E-AB56-723F-A7BE-94749842CCE8}"/>
              </a:ext>
            </a:extLst>
          </p:cNvPr>
          <p:cNvPicPr>
            <a:picLocks noChangeAspect="1"/>
          </p:cNvPicPr>
          <p:nvPr userDrawn="1"/>
        </p:nvPicPr>
        <p:blipFill>
          <a:blip r:embed="rId2"/>
          <a:stretch>
            <a:fillRect/>
          </a:stretch>
        </p:blipFill>
        <p:spPr>
          <a:xfrm>
            <a:off x="10143241" y="599008"/>
            <a:ext cx="1708531" cy="849935"/>
          </a:xfrm>
          <a:prstGeom prst="rect">
            <a:avLst/>
          </a:prstGeom>
        </p:spPr>
      </p:pic>
      <p:sp>
        <p:nvSpPr>
          <p:cNvPr id="28" name="Segnaposto testo 27">
            <a:extLst>
              <a:ext uri="{FF2B5EF4-FFF2-40B4-BE49-F238E27FC236}">
                <a16:creationId xmlns:a16="http://schemas.microsoft.com/office/drawing/2014/main" id="{39288F6F-9445-F9A5-08DB-708B1EB73469}"/>
              </a:ext>
            </a:extLst>
          </p:cNvPr>
          <p:cNvSpPr>
            <a:spLocks noGrp="1"/>
          </p:cNvSpPr>
          <p:nvPr>
            <p:ph type="body" sz="quarter" idx="11" hasCustomPrompt="1"/>
          </p:nvPr>
        </p:nvSpPr>
        <p:spPr>
          <a:xfrm>
            <a:off x="1485900" y="462593"/>
            <a:ext cx="6781800" cy="1406958"/>
          </a:xfrm>
        </p:spPr>
        <p:txBody>
          <a:bodyPr lIns="0" tIns="0" rIns="0" bIns="0" anchor="ctr" anchorCtr="0"/>
          <a:lstStyle>
            <a:lvl1pPr marL="0" indent="0">
              <a:buNone/>
              <a:defRPr sz="4260" b="1">
                <a:solidFill>
                  <a:srgbClr val="415464"/>
                </a:solidFill>
                <a:latin typeface="Arial" panose="020B0604020202020204" pitchFamily="34" charset="0"/>
                <a:cs typeface="Arial" panose="020B0604020202020204" pitchFamily="34" charset="0"/>
              </a:defRPr>
            </a:lvl1pPr>
            <a:lvl2pPr marL="0" indent="0">
              <a:buNone/>
              <a:defRPr sz="2663">
                <a:solidFill>
                  <a:srgbClr val="415464"/>
                </a:solidFill>
              </a:defRPr>
            </a:lvl2pPr>
          </a:lstStyle>
          <a:p>
            <a:pPr lvl="0"/>
            <a:r>
              <a:rPr lang="it-IT" dirty="0"/>
              <a:t>Titolo</a:t>
            </a:r>
          </a:p>
          <a:p>
            <a:pPr lvl="1"/>
            <a:r>
              <a:rPr lang="it-IT" dirty="0"/>
              <a:t>Sottotitolo</a:t>
            </a:r>
          </a:p>
        </p:txBody>
      </p:sp>
      <p:sp>
        <p:nvSpPr>
          <p:cNvPr id="30" name="Segnaposto testo 29">
            <a:extLst>
              <a:ext uri="{FF2B5EF4-FFF2-40B4-BE49-F238E27FC236}">
                <a16:creationId xmlns:a16="http://schemas.microsoft.com/office/drawing/2014/main" id="{4F1239BA-8934-3210-AF0E-57693852797B}"/>
              </a:ext>
            </a:extLst>
          </p:cNvPr>
          <p:cNvSpPr>
            <a:spLocks noGrp="1"/>
          </p:cNvSpPr>
          <p:nvPr>
            <p:ph type="body" sz="quarter" idx="12" hasCustomPrompt="1"/>
          </p:nvPr>
        </p:nvSpPr>
        <p:spPr>
          <a:xfrm>
            <a:off x="1485901" y="2397436"/>
            <a:ext cx="8016688" cy="1488902"/>
          </a:xfrm>
        </p:spPr>
        <p:txBody>
          <a:bodyPr lIns="0" tIns="0" rIns="0" bIns="0"/>
          <a:lstStyle>
            <a:lvl1pPr marL="0" indent="0">
              <a:lnSpc>
                <a:spcPts val="1864"/>
              </a:lnSpc>
              <a:buNone/>
              <a:defRPr sz="1598">
                <a:latin typeface="Arial" panose="020B0604020202020204" pitchFamily="34" charset="0"/>
                <a:cs typeface="Arial" panose="020B0604020202020204" pitchFamily="34" charset="0"/>
              </a:defRPr>
            </a:lvl1pPr>
            <a:lvl2pPr marL="456503" indent="0">
              <a:buNone/>
              <a:defRPr/>
            </a:lvl2pPr>
            <a:lvl3pPr marL="913006" indent="0">
              <a:buNone/>
              <a:defRPr/>
            </a:lvl3pPr>
            <a:lvl4pPr marL="1369508" indent="0">
              <a:buNone/>
              <a:defRPr/>
            </a:lvl4pPr>
            <a:lvl5pPr marL="1826011" indent="0">
              <a:buNone/>
              <a:defRPr/>
            </a:lvl5pPr>
          </a:lstStyle>
          <a:p>
            <a:pPr lvl="0"/>
            <a:r>
              <a:rPr lang="it-IT" dirty="0"/>
              <a:t>Testo</a:t>
            </a:r>
          </a:p>
        </p:txBody>
      </p:sp>
      <p:sp>
        <p:nvSpPr>
          <p:cNvPr id="4" name="Date Placeholder 3">
            <a:extLst>
              <a:ext uri="{FF2B5EF4-FFF2-40B4-BE49-F238E27FC236}">
                <a16:creationId xmlns:a16="http://schemas.microsoft.com/office/drawing/2014/main" id="{A109EA93-1510-6A68-6B3F-22984564263C}"/>
              </a:ext>
            </a:extLst>
          </p:cNvPr>
          <p:cNvSpPr>
            <a:spLocks noGrp="1"/>
          </p:cNvSpPr>
          <p:nvPr>
            <p:ph type="dt" sz="half" idx="2"/>
          </p:nvPr>
        </p:nvSpPr>
        <p:spPr>
          <a:xfrm>
            <a:off x="9239724" y="6356350"/>
            <a:ext cx="1146779" cy="365125"/>
          </a:xfrm>
          <a:prstGeom prst="rect">
            <a:avLst/>
          </a:prstGeom>
        </p:spPr>
        <p:txBody>
          <a:bodyPr vert="horz" lIns="91440" tIns="45720" rIns="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fld id="{3D12781F-995D-6F49-84BD-828F303A4350}" type="datetime1">
              <a:rPr lang="it-IT" smtClean="0"/>
              <a:t>19/02/2026</a:t>
            </a:fld>
            <a:endParaRPr lang="it-IT" dirty="0"/>
          </a:p>
        </p:txBody>
      </p:sp>
      <p:sp>
        <p:nvSpPr>
          <p:cNvPr id="5" name="Footer Placeholder 4">
            <a:extLst>
              <a:ext uri="{FF2B5EF4-FFF2-40B4-BE49-F238E27FC236}">
                <a16:creationId xmlns:a16="http://schemas.microsoft.com/office/drawing/2014/main" id="{AD1E5F16-B9A6-7ACC-66A0-BC9D36312A32}"/>
              </a:ext>
            </a:extLst>
          </p:cNvPr>
          <p:cNvSpPr>
            <a:spLocks noGrp="1"/>
          </p:cNvSpPr>
          <p:nvPr>
            <p:ph type="ftr" sz="quarter" idx="3"/>
          </p:nvPr>
        </p:nvSpPr>
        <p:spPr>
          <a:xfrm>
            <a:off x="1984980" y="6356350"/>
            <a:ext cx="7254745" cy="365125"/>
          </a:xfrm>
          <a:prstGeom prst="rect">
            <a:avLst/>
          </a:prstGeom>
        </p:spPr>
        <p:txBody>
          <a:bodyPr vert="horz" lIns="91440" tIns="45720" rIns="9144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endParaRPr lang="it-IT" dirty="0"/>
          </a:p>
        </p:txBody>
      </p:sp>
      <p:sp>
        <p:nvSpPr>
          <p:cNvPr id="6" name="Slide Number Placeholder 5">
            <a:extLst>
              <a:ext uri="{FF2B5EF4-FFF2-40B4-BE49-F238E27FC236}">
                <a16:creationId xmlns:a16="http://schemas.microsoft.com/office/drawing/2014/main" id="{39895310-B2C5-CFCB-24B5-1A935A70BB9D}"/>
              </a:ext>
            </a:extLst>
          </p:cNvPr>
          <p:cNvSpPr>
            <a:spLocks noGrp="1"/>
          </p:cNvSpPr>
          <p:nvPr>
            <p:ph type="sldNum" sz="quarter" idx="4"/>
          </p:nvPr>
        </p:nvSpPr>
        <p:spPr>
          <a:xfrm>
            <a:off x="838200" y="6356350"/>
            <a:ext cx="1146779" cy="365125"/>
          </a:xfrm>
          <a:prstGeom prst="rect">
            <a:avLst/>
          </a:prstGeom>
        </p:spPr>
        <p:txBody>
          <a:bodyPr vert="horz" lIns="0" tIns="45720" rIns="91440" bIns="45720" rtlCol="0" anchor="ctr"/>
          <a:lstStyle>
            <a:lvl1pPr algn="l">
              <a:defRPr sz="1065" b="1">
                <a:solidFill>
                  <a:schemeClr val="tx1">
                    <a:tint val="82000"/>
                  </a:schemeClr>
                </a:solidFill>
                <a:latin typeface="Arial" panose="020B0604020202020204" pitchFamily="34" charset="0"/>
                <a:cs typeface="Arial" panose="020B0604020202020204" pitchFamily="34" charset="0"/>
              </a:defRPr>
            </a:lvl1pPr>
          </a:lstStyle>
          <a:p>
            <a:fld id="{3DC449BC-E673-2243-8924-E6398E7E2D4C}" type="slidenum">
              <a:rPr lang="it-IT" smtClean="0"/>
              <a:pPr/>
              <a:t>‹N›</a:t>
            </a:fld>
            <a:endParaRPr lang="it-IT" dirty="0"/>
          </a:p>
        </p:txBody>
      </p:sp>
    </p:spTree>
    <p:extLst>
      <p:ext uri="{BB962C8B-B14F-4D97-AF65-F5344CB8AC3E}">
        <p14:creationId xmlns:p14="http://schemas.microsoft.com/office/powerpoint/2010/main" val="1119845998"/>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3_Diapositiva titolo">
    <p:spTree>
      <p:nvGrpSpPr>
        <p:cNvPr id="1" name=""/>
        <p:cNvGrpSpPr/>
        <p:nvPr/>
      </p:nvGrpSpPr>
      <p:grpSpPr>
        <a:xfrm>
          <a:off x="0" y="0"/>
          <a:ext cx="0" cy="0"/>
          <a:chOff x="0" y="0"/>
          <a:chExt cx="0" cy="0"/>
        </a:xfrm>
      </p:grpSpPr>
      <p:pic>
        <p:nvPicPr>
          <p:cNvPr id="11" name="Immagine 10" descr="Immagine che contiene testo, Carattere, schermata, Elementi grafici&#10;&#10;Il contenuto generato dall'IA potrebbe non essere corretto.">
            <a:extLst>
              <a:ext uri="{FF2B5EF4-FFF2-40B4-BE49-F238E27FC236}">
                <a16:creationId xmlns:a16="http://schemas.microsoft.com/office/drawing/2014/main" id="{911B4A1E-AB56-723F-A7BE-94749842CCE8}"/>
              </a:ext>
            </a:extLst>
          </p:cNvPr>
          <p:cNvPicPr>
            <a:picLocks noChangeAspect="1"/>
          </p:cNvPicPr>
          <p:nvPr userDrawn="1"/>
        </p:nvPicPr>
        <p:blipFill>
          <a:blip r:embed="rId2"/>
          <a:stretch>
            <a:fillRect/>
          </a:stretch>
        </p:blipFill>
        <p:spPr>
          <a:xfrm>
            <a:off x="10143241" y="599008"/>
            <a:ext cx="1708531" cy="849935"/>
          </a:xfrm>
          <a:prstGeom prst="rect">
            <a:avLst/>
          </a:prstGeom>
        </p:spPr>
      </p:pic>
      <p:sp>
        <p:nvSpPr>
          <p:cNvPr id="28" name="Segnaposto testo 27">
            <a:extLst>
              <a:ext uri="{FF2B5EF4-FFF2-40B4-BE49-F238E27FC236}">
                <a16:creationId xmlns:a16="http://schemas.microsoft.com/office/drawing/2014/main" id="{39288F6F-9445-F9A5-08DB-708B1EB73469}"/>
              </a:ext>
            </a:extLst>
          </p:cNvPr>
          <p:cNvSpPr>
            <a:spLocks noGrp="1"/>
          </p:cNvSpPr>
          <p:nvPr>
            <p:ph type="body" sz="quarter" idx="11" hasCustomPrompt="1"/>
          </p:nvPr>
        </p:nvSpPr>
        <p:spPr>
          <a:xfrm>
            <a:off x="1485900" y="462593"/>
            <a:ext cx="6781800" cy="1406958"/>
          </a:xfrm>
        </p:spPr>
        <p:txBody>
          <a:bodyPr lIns="0" tIns="0" rIns="0" bIns="0" anchor="ctr" anchorCtr="0"/>
          <a:lstStyle>
            <a:lvl1pPr marL="0" indent="0">
              <a:buNone/>
              <a:defRPr sz="4260" b="1">
                <a:solidFill>
                  <a:srgbClr val="415464"/>
                </a:solidFill>
                <a:latin typeface="Arial" panose="020B0604020202020204" pitchFamily="34" charset="0"/>
                <a:cs typeface="Arial" panose="020B0604020202020204" pitchFamily="34" charset="0"/>
              </a:defRPr>
            </a:lvl1pPr>
            <a:lvl2pPr marL="0" indent="0">
              <a:buNone/>
              <a:defRPr sz="2663">
                <a:solidFill>
                  <a:srgbClr val="415464"/>
                </a:solidFill>
              </a:defRPr>
            </a:lvl2pPr>
          </a:lstStyle>
          <a:p>
            <a:pPr lvl="0"/>
            <a:r>
              <a:rPr lang="it-IT" dirty="0"/>
              <a:t>Titolo</a:t>
            </a:r>
          </a:p>
          <a:p>
            <a:pPr lvl="1"/>
            <a:r>
              <a:rPr lang="it-IT" dirty="0"/>
              <a:t>Sottotitolo</a:t>
            </a:r>
          </a:p>
        </p:txBody>
      </p:sp>
      <p:sp>
        <p:nvSpPr>
          <p:cNvPr id="30" name="Segnaposto testo 29">
            <a:extLst>
              <a:ext uri="{FF2B5EF4-FFF2-40B4-BE49-F238E27FC236}">
                <a16:creationId xmlns:a16="http://schemas.microsoft.com/office/drawing/2014/main" id="{4F1239BA-8934-3210-AF0E-57693852797B}"/>
              </a:ext>
            </a:extLst>
          </p:cNvPr>
          <p:cNvSpPr>
            <a:spLocks noGrp="1"/>
          </p:cNvSpPr>
          <p:nvPr>
            <p:ph type="body" sz="quarter" idx="12" hasCustomPrompt="1"/>
          </p:nvPr>
        </p:nvSpPr>
        <p:spPr>
          <a:xfrm>
            <a:off x="1485901" y="2397437"/>
            <a:ext cx="8016688" cy="669736"/>
          </a:xfrm>
        </p:spPr>
        <p:txBody>
          <a:bodyPr lIns="0" tIns="0" rIns="0" bIns="0"/>
          <a:lstStyle>
            <a:lvl1pPr marL="0" indent="0">
              <a:lnSpc>
                <a:spcPts val="1864"/>
              </a:lnSpc>
              <a:buNone/>
              <a:defRPr sz="1598">
                <a:latin typeface="Arial" panose="020B0604020202020204" pitchFamily="34" charset="0"/>
                <a:cs typeface="Arial" panose="020B0604020202020204" pitchFamily="34" charset="0"/>
              </a:defRPr>
            </a:lvl1pPr>
            <a:lvl2pPr marL="456503" indent="0">
              <a:buNone/>
              <a:defRPr/>
            </a:lvl2pPr>
            <a:lvl3pPr marL="913006" indent="0">
              <a:buNone/>
              <a:defRPr/>
            </a:lvl3pPr>
            <a:lvl4pPr marL="1369508" indent="0">
              <a:buNone/>
              <a:defRPr/>
            </a:lvl4pPr>
            <a:lvl5pPr marL="1826011" indent="0">
              <a:buNone/>
              <a:defRPr/>
            </a:lvl5pPr>
          </a:lstStyle>
          <a:p>
            <a:pPr lvl="0"/>
            <a:r>
              <a:rPr lang="it-IT" dirty="0"/>
              <a:t>Testo</a:t>
            </a:r>
          </a:p>
        </p:txBody>
      </p:sp>
      <p:sp>
        <p:nvSpPr>
          <p:cNvPr id="3" name="Segnaposto tabella 2">
            <a:extLst>
              <a:ext uri="{FF2B5EF4-FFF2-40B4-BE49-F238E27FC236}">
                <a16:creationId xmlns:a16="http://schemas.microsoft.com/office/drawing/2014/main" id="{49B45A4C-68D4-DC55-A6ED-B819D01C2106}"/>
              </a:ext>
            </a:extLst>
          </p:cNvPr>
          <p:cNvSpPr>
            <a:spLocks noGrp="1"/>
          </p:cNvSpPr>
          <p:nvPr>
            <p:ph type="tbl" sz="quarter" idx="13"/>
          </p:nvPr>
        </p:nvSpPr>
        <p:spPr>
          <a:xfrm>
            <a:off x="1485901" y="3174584"/>
            <a:ext cx="8015817" cy="3066302"/>
          </a:xfrm>
        </p:spPr>
        <p:txBody>
          <a:bodyPr/>
          <a:lstStyle/>
          <a:p>
            <a:endParaRPr lang="it-IT"/>
          </a:p>
        </p:txBody>
      </p:sp>
      <p:sp>
        <p:nvSpPr>
          <p:cNvPr id="4" name="Date Placeholder 3">
            <a:extLst>
              <a:ext uri="{FF2B5EF4-FFF2-40B4-BE49-F238E27FC236}">
                <a16:creationId xmlns:a16="http://schemas.microsoft.com/office/drawing/2014/main" id="{B8A000CF-DB22-F83C-AE84-63A94D49385C}"/>
              </a:ext>
            </a:extLst>
          </p:cNvPr>
          <p:cNvSpPr>
            <a:spLocks noGrp="1"/>
          </p:cNvSpPr>
          <p:nvPr>
            <p:ph type="dt" sz="half" idx="2"/>
          </p:nvPr>
        </p:nvSpPr>
        <p:spPr>
          <a:xfrm>
            <a:off x="9239724" y="6356350"/>
            <a:ext cx="1146779" cy="365125"/>
          </a:xfrm>
          <a:prstGeom prst="rect">
            <a:avLst/>
          </a:prstGeom>
        </p:spPr>
        <p:txBody>
          <a:bodyPr vert="horz" lIns="91440" tIns="45720" rIns="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fld id="{CAD6B32A-D3EF-C646-A545-01934D36ABCE}" type="datetime1">
              <a:rPr lang="it-IT" smtClean="0"/>
              <a:t>19/02/2026</a:t>
            </a:fld>
            <a:endParaRPr lang="it-IT" dirty="0"/>
          </a:p>
        </p:txBody>
      </p:sp>
      <p:sp>
        <p:nvSpPr>
          <p:cNvPr id="5" name="Footer Placeholder 4">
            <a:extLst>
              <a:ext uri="{FF2B5EF4-FFF2-40B4-BE49-F238E27FC236}">
                <a16:creationId xmlns:a16="http://schemas.microsoft.com/office/drawing/2014/main" id="{CDE80655-3F6C-168A-313C-A69FB72088FC}"/>
              </a:ext>
            </a:extLst>
          </p:cNvPr>
          <p:cNvSpPr>
            <a:spLocks noGrp="1"/>
          </p:cNvSpPr>
          <p:nvPr>
            <p:ph type="ftr" sz="quarter" idx="3"/>
          </p:nvPr>
        </p:nvSpPr>
        <p:spPr>
          <a:xfrm>
            <a:off x="1984980" y="6356350"/>
            <a:ext cx="7254745" cy="365125"/>
          </a:xfrm>
          <a:prstGeom prst="rect">
            <a:avLst/>
          </a:prstGeom>
        </p:spPr>
        <p:txBody>
          <a:bodyPr vert="horz" lIns="91440" tIns="45720" rIns="9144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endParaRPr lang="it-IT" dirty="0"/>
          </a:p>
        </p:txBody>
      </p:sp>
      <p:sp>
        <p:nvSpPr>
          <p:cNvPr id="6" name="Slide Number Placeholder 5">
            <a:extLst>
              <a:ext uri="{FF2B5EF4-FFF2-40B4-BE49-F238E27FC236}">
                <a16:creationId xmlns:a16="http://schemas.microsoft.com/office/drawing/2014/main" id="{5C1D1CC6-C67F-DA71-18AA-33546DFD227A}"/>
              </a:ext>
            </a:extLst>
          </p:cNvPr>
          <p:cNvSpPr>
            <a:spLocks noGrp="1"/>
          </p:cNvSpPr>
          <p:nvPr>
            <p:ph type="sldNum" sz="quarter" idx="4"/>
          </p:nvPr>
        </p:nvSpPr>
        <p:spPr>
          <a:xfrm>
            <a:off x="838200" y="6356350"/>
            <a:ext cx="1146779" cy="365125"/>
          </a:xfrm>
          <a:prstGeom prst="rect">
            <a:avLst/>
          </a:prstGeom>
        </p:spPr>
        <p:txBody>
          <a:bodyPr vert="horz" lIns="0" tIns="45720" rIns="91440" bIns="45720" rtlCol="0" anchor="ctr"/>
          <a:lstStyle>
            <a:lvl1pPr algn="l">
              <a:defRPr sz="1065" b="1">
                <a:solidFill>
                  <a:schemeClr val="tx1">
                    <a:tint val="82000"/>
                  </a:schemeClr>
                </a:solidFill>
                <a:latin typeface="Arial" panose="020B0604020202020204" pitchFamily="34" charset="0"/>
                <a:cs typeface="Arial" panose="020B0604020202020204" pitchFamily="34" charset="0"/>
              </a:defRPr>
            </a:lvl1pPr>
          </a:lstStyle>
          <a:p>
            <a:fld id="{3DC449BC-E673-2243-8924-E6398E7E2D4C}" type="slidenum">
              <a:rPr lang="it-IT" smtClean="0"/>
              <a:pPr/>
              <a:t>‹N›</a:t>
            </a:fld>
            <a:endParaRPr lang="it-IT" dirty="0"/>
          </a:p>
        </p:txBody>
      </p:sp>
    </p:spTree>
    <p:extLst>
      <p:ext uri="{BB962C8B-B14F-4D97-AF65-F5344CB8AC3E}">
        <p14:creationId xmlns:p14="http://schemas.microsoft.com/office/powerpoint/2010/main" val="3494598231"/>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4_Diapositiva titolo">
    <p:spTree>
      <p:nvGrpSpPr>
        <p:cNvPr id="1" name=""/>
        <p:cNvGrpSpPr/>
        <p:nvPr/>
      </p:nvGrpSpPr>
      <p:grpSpPr>
        <a:xfrm>
          <a:off x="0" y="0"/>
          <a:ext cx="0" cy="0"/>
          <a:chOff x="0" y="0"/>
          <a:chExt cx="0" cy="0"/>
        </a:xfrm>
      </p:grpSpPr>
      <p:pic>
        <p:nvPicPr>
          <p:cNvPr id="11" name="Immagine 10" descr="Immagine che contiene testo, Carattere, schermata, Elementi grafici&#10;&#10;Il contenuto generato dall'IA potrebbe non essere corretto.">
            <a:extLst>
              <a:ext uri="{FF2B5EF4-FFF2-40B4-BE49-F238E27FC236}">
                <a16:creationId xmlns:a16="http://schemas.microsoft.com/office/drawing/2014/main" id="{911B4A1E-AB56-723F-A7BE-94749842CCE8}"/>
              </a:ext>
            </a:extLst>
          </p:cNvPr>
          <p:cNvPicPr>
            <a:picLocks noChangeAspect="1"/>
          </p:cNvPicPr>
          <p:nvPr userDrawn="1"/>
        </p:nvPicPr>
        <p:blipFill>
          <a:blip r:embed="rId2"/>
          <a:stretch>
            <a:fillRect/>
          </a:stretch>
        </p:blipFill>
        <p:spPr>
          <a:xfrm>
            <a:off x="10143241" y="599008"/>
            <a:ext cx="1708531" cy="849935"/>
          </a:xfrm>
          <a:prstGeom prst="rect">
            <a:avLst/>
          </a:prstGeom>
        </p:spPr>
      </p:pic>
      <p:sp>
        <p:nvSpPr>
          <p:cNvPr id="28" name="Segnaposto testo 27">
            <a:extLst>
              <a:ext uri="{FF2B5EF4-FFF2-40B4-BE49-F238E27FC236}">
                <a16:creationId xmlns:a16="http://schemas.microsoft.com/office/drawing/2014/main" id="{39288F6F-9445-F9A5-08DB-708B1EB73469}"/>
              </a:ext>
            </a:extLst>
          </p:cNvPr>
          <p:cNvSpPr>
            <a:spLocks noGrp="1"/>
          </p:cNvSpPr>
          <p:nvPr>
            <p:ph type="body" sz="quarter" idx="11" hasCustomPrompt="1"/>
          </p:nvPr>
        </p:nvSpPr>
        <p:spPr>
          <a:xfrm>
            <a:off x="1485900" y="462593"/>
            <a:ext cx="6781800" cy="1406958"/>
          </a:xfrm>
        </p:spPr>
        <p:txBody>
          <a:bodyPr lIns="0" tIns="0" rIns="0" bIns="0" anchor="ctr" anchorCtr="0"/>
          <a:lstStyle>
            <a:lvl1pPr marL="0" indent="0">
              <a:spcBef>
                <a:spcPts val="0"/>
              </a:spcBef>
              <a:buNone/>
              <a:defRPr sz="4260" b="1">
                <a:solidFill>
                  <a:srgbClr val="415464"/>
                </a:solidFill>
                <a:latin typeface="Arial" panose="020B0604020202020204" pitchFamily="34" charset="0"/>
                <a:cs typeface="Arial" panose="020B0604020202020204" pitchFamily="34" charset="0"/>
              </a:defRPr>
            </a:lvl1pPr>
            <a:lvl2pPr marL="0" indent="0">
              <a:buNone/>
              <a:defRPr sz="2663">
                <a:solidFill>
                  <a:srgbClr val="415464"/>
                </a:solidFill>
              </a:defRPr>
            </a:lvl2pPr>
          </a:lstStyle>
          <a:p>
            <a:pPr lvl="0"/>
            <a:r>
              <a:rPr lang="it-IT" dirty="0"/>
              <a:t>Titolo</a:t>
            </a:r>
          </a:p>
          <a:p>
            <a:pPr lvl="1"/>
            <a:r>
              <a:rPr lang="it-IT" dirty="0"/>
              <a:t>Sottotitolo</a:t>
            </a:r>
          </a:p>
        </p:txBody>
      </p:sp>
      <p:sp>
        <p:nvSpPr>
          <p:cNvPr id="30" name="Segnaposto testo 29">
            <a:extLst>
              <a:ext uri="{FF2B5EF4-FFF2-40B4-BE49-F238E27FC236}">
                <a16:creationId xmlns:a16="http://schemas.microsoft.com/office/drawing/2014/main" id="{4F1239BA-8934-3210-AF0E-57693852797B}"/>
              </a:ext>
            </a:extLst>
          </p:cNvPr>
          <p:cNvSpPr>
            <a:spLocks noGrp="1"/>
          </p:cNvSpPr>
          <p:nvPr>
            <p:ph type="body" sz="quarter" idx="12" hasCustomPrompt="1"/>
          </p:nvPr>
        </p:nvSpPr>
        <p:spPr>
          <a:xfrm>
            <a:off x="1485901" y="2397437"/>
            <a:ext cx="8016688" cy="2425029"/>
          </a:xfrm>
        </p:spPr>
        <p:txBody>
          <a:bodyPr lIns="0" tIns="0" rIns="0" bIns="0"/>
          <a:lstStyle>
            <a:lvl1pPr marL="16908" marR="62558" indent="0">
              <a:lnSpc>
                <a:spcPts val="1864"/>
              </a:lnSpc>
              <a:spcBef>
                <a:spcPts val="240"/>
              </a:spcBef>
              <a:buNone/>
              <a:defRPr sz="1598">
                <a:latin typeface="Arial" panose="020B0604020202020204" pitchFamily="34" charset="0"/>
                <a:cs typeface="Arial" panose="020B0604020202020204" pitchFamily="34" charset="0"/>
              </a:defRPr>
            </a:lvl1pPr>
            <a:lvl2pPr marL="456503" indent="0">
              <a:buNone/>
              <a:defRPr/>
            </a:lvl2pPr>
            <a:lvl3pPr marL="913006" indent="0">
              <a:buNone/>
              <a:defRPr/>
            </a:lvl3pPr>
            <a:lvl4pPr marL="1369508" indent="0">
              <a:buNone/>
              <a:defRPr/>
            </a:lvl4pPr>
            <a:lvl5pPr marL="1826011" indent="0">
              <a:buNone/>
              <a:defRPr/>
            </a:lvl5pPr>
          </a:lstStyle>
          <a:p>
            <a:pPr marL="12700" marR="46990">
              <a:lnSpc>
                <a:spcPts val="1400"/>
              </a:lnSpc>
              <a:spcBef>
                <a:spcPts val="180"/>
              </a:spcBef>
            </a:pPr>
            <a:r>
              <a:rPr lang="it-IT" sz="1598" dirty="0">
                <a:latin typeface="Arial"/>
                <a:cs typeface="Arial"/>
              </a:rPr>
              <a:t>Testo</a:t>
            </a:r>
          </a:p>
        </p:txBody>
      </p:sp>
      <p:sp>
        <p:nvSpPr>
          <p:cNvPr id="5" name="Segnaposto immagine 4">
            <a:extLst>
              <a:ext uri="{FF2B5EF4-FFF2-40B4-BE49-F238E27FC236}">
                <a16:creationId xmlns:a16="http://schemas.microsoft.com/office/drawing/2014/main" id="{F1C52C47-EF9F-1C53-A573-C678ACD70D90}"/>
              </a:ext>
            </a:extLst>
          </p:cNvPr>
          <p:cNvSpPr>
            <a:spLocks noGrp="1"/>
          </p:cNvSpPr>
          <p:nvPr>
            <p:ph type="pic" sz="quarter" idx="13"/>
          </p:nvPr>
        </p:nvSpPr>
        <p:spPr>
          <a:xfrm>
            <a:off x="9792004" y="2397436"/>
            <a:ext cx="2160000" cy="4460564"/>
          </a:xfrm>
        </p:spPr>
        <p:txBody>
          <a:bodyPr/>
          <a:lstStyle/>
          <a:p>
            <a:endParaRPr lang="it-IT"/>
          </a:p>
        </p:txBody>
      </p:sp>
      <p:sp>
        <p:nvSpPr>
          <p:cNvPr id="13" name="Date Placeholder 3">
            <a:extLst>
              <a:ext uri="{FF2B5EF4-FFF2-40B4-BE49-F238E27FC236}">
                <a16:creationId xmlns:a16="http://schemas.microsoft.com/office/drawing/2014/main" id="{78AE4C12-B546-70F4-607D-8FA13A24C94A}"/>
              </a:ext>
            </a:extLst>
          </p:cNvPr>
          <p:cNvSpPr>
            <a:spLocks noGrp="1"/>
          </p:cNvSpPr>
          <p:nvPr>
            <p:ph type="dt" sz="half" idx="2"/>
          </p:nvPr>
        </p:nvSpPr>
        <p:spPr>
          <a:xfrm>
            <a:off x="9239724" y="6356350"/>
            <a:ext cx="1146779" cy="365125"/>
          </a:xfrm>
          <a:prstGeom prst="rect">
            <a:avLst/>
          </a:prstGeom>
        </p:spPr>
        <p:txBody>
          <a:bodyPr vert="horz" lIns="91440" tIns="45720" rIns="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fld id="{8A5B6325-31F9-0A41-B7FA-A6234D4D77B3}" type="datetime1">
              <a:rPr lang="it-IT" smtClean="0"/>
              <a:t>19/02/2026</a:t>
            </a:fld>
            <a:endParaRPr lang="it-IT" dirty="0"/>
          </a:p>
        </p:txBody>
      </p:sp>
      <p:sp>
        <p:nvSpPr>
          <p:cNvPr id="14" name="Footer Placeholder 4">
            <a:extLst>
              <a:ext uri="{FF2B5EF4-FFF2-40B4-BE49-F238E27FC236}">
                <a16:creationId xmlns:a16="http://schemas.microsoft.com/office/drawing/2014/main" id="{BECA449C-15C6-8A9F-B1C5-6884DA6DA52E}"/>
              </a:ext>
            </a:extLst>
          </p:cNvPr>
          <p:cNvSpPr>
            <a:spLocks noGrp="1"/>
          </p:cNvSpPr>
          <p:nvPr>
            <p:ph type="ftr" sz="quarter" idx="3"/>
          </p:nvPr>
        </p:nvSpPr>
        <p:spPr>
          <a:xfrm>
            <a:off x="1984980" y="6356350"/>
            <a:ext cx="7254745" cy="365125"/>
          </a:xfrm>
          <a:prstGeom prst="rect">
            <a:avLst/>
          </a:prstGeom>
        </p:spPr>
        <p:txBody>
          <a:bodyPr vert="horz" lIns="91440" tIns="45720" rIns="9144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endParaRPr lang="it-IT" dirty="0"/>
          </a:p>
        </p:txBody>
      </p:sp>
      <p:sp>
        <p:nvSpPr>
          <p:cNvPr id="15" name="Slide Number Placeholder 5">
            <a:extLst>
              <a:ext uri="{FF2B5EF4-FFF2-40B4-BE49-F238E27FC236}">
                <a16:creationId xmlns:a16="http://schemas.microsoft.com/office/drawing/2014/main" id="{B9A50E7F-05F6-5F72-398E-0A7938BC1B94}"/>
              </a:ext>
            </a:extLst>
          </p:cNvPr>
          <p:cNvSpPr>
            <a:spLocks noGrp="1"/>
          </p:cNvSpPr>
          <p:nvPr>
            <p:ph type="sldNum" sz="quarter" idx="4"/>
          </p:nvPr>
        </p:nvSpPr>
        <p:spPr>
          <a:xfrm>
            <a:off x="838200" y="6356350"/>
            <a:ext cx="1146779" cy="365125"/>
          </a:xfrm>
          <a:prstGeom prst="rect">
            <a:avLst/>
          </a:prstGeom>
        </p:spPr>
        <p:txBody>
          <a:bodyPr vert="horz" lIns="0" tIns="45720" rIns="91440" bIns="45720" rtlCol="0" anchor="ctr"/>
          <a:lstStyle>
            <a:lvl1pPr algn="l">
              <a:defRPr sz="1065" b="1">
                <a:solidFill>
                  <a:schemeClr val="tx1">
                    <a:tint val="82000"/>
                  </a:schemeClr>
                </a:solidFill>
                <a:latin typeface="Arial" panose="020B0604020202020204" pitchFamily="34" charset="0"/>
                <a:cs typeface="Arial" panose="020B0604020202020204" pitchFamily="34" charset="0"/>
              </a:defRPr>
            </a:lvl1pPr>
          </a:lstStyle>
          <a:p>
            <a:fld id="{3DC449BC-E673-2243-8924-E6398E7E2D4C}" type="slidenum">
              <a:rPr lang="it-IT" smtClean="0"/>
              <a:pPr/>
              <a:t>‹N›</a:t>
            </a:fld>
            <a:endParaRPr lang="it-IT" dirty="0"/>
          </a:p>
        </p:txBody>
      </p:sp>
    </p:spTree>
    <p:extLst>
      <p:ext uri="{BB962C8B-B14F-4D97-AF65-F5344CB8AC3E}">
        <p14:creationId xmlns:p14="http://schemas.microsoft.com/office/powerpoint/2010/main" val="73257981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Content Placeholder 2"/>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a:xfrm>
            <a:off x="10207021" y="6356350"/>
            <a:ext cx="1146779" cy="365125"/>
          </a:xfrm>
          <a:prstGeom prst="rect">
            <a:avLst/>
          </a:prstGeom>
        </p:spPr>
        <p:txBody>
          <a:bodyPr/>
          <a:lstStyle/>
          <a:p>
            <a:fld id="{DAA2152F-7FDA-1640-B06F-424F9976272C}" type="datetime1">
              <a:rPr lang="it-IT" smtClean="0"/>
              <a:t>19/02/2026</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2227074854"/>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le 1"/>
          <p:cNvSpPr>
            <a:spLocks noGrp="1"/>
          </p:cNvSpPr>
          <p:nvPr>
            <p:ph type="title"/>
          </p:nvPr>
        </p:nvSpPr>
        <p:spPr>
          <a:xfrm>
            <a:off x="831849" y="1709740"/>
            <a:ext cx="10515600" cy="2852737"/>
          </a:xfrm>
        </p:spPr>
        <p:txBody>
          <a:bodyPr anchor="b"/>
          <a:lstStyle>
            <a:lvl1pPr>
              <a:defRPr sz="5991"/>
            </a:lvl1pPr>
          </a:lstStyle>
          <a:p>
            <a:r>
              <a:rPr lang="it-IT"/>
              <a:t>Fare clic per modificare lo stile del titolo dello schema</a:t>
            </a:r>
            <a:endParaRPr lang="en-US" dirty="0"/>
          </a:p>
        </p:txBody>
      </p:sp>
      <p:sp>
        <p:nvSpPr>
          <p:cNvPr id="3" name="Text Placeholder 2"/>
          <p:cNvSpPr>
            <a:spLocks noGrp="1"/>
          </p:cNvSpPr>
          <p:nvPr>
            <p:ph type="body" idx="1"/>
          </p:nvPr>
        </p:nvSpPr>
        <p:spPr>
          <a:xfrm>
            <a:off x="831849" y="4589465"/>
            <a:ext cx="10515600" cy="1500187"/>
          </a:xfrm>
        </p:spPr>
        <p:txBody>
          <a:bodyPr/>
          <a:lstStyle>
            <a:lvl1pPr marL="0" indent="0">
              <a:buNone/>
              <a:defRPr sz="2396">
                <a:solidFill>
                  <a:schemeClr val="tx1">
                    <a:tint val="82000"/>
                  </a:schemeClr>
                </a:solidFill>
              </a:defRPr>
            </a:lvl1pPr>
            <a:lvl2pPr marL="456503" indent="0">
              <a:buNone/>
              <a:defRPr sz="1997">
                <a:solidFill>
                  <a:schemeClr val="tx1">
                    <a:tint val="82000"/>
                  </a:schemeClr>
                </a:solidFill>
              </a:defRPr>
            </a:lvl2pPr>
            <a:lvl3pPr marL="913006" indent="0">
              <a:buNone/>
              <a:defRPr sz="1797">
                <a:solidFill>
                  <a:schemeClr val="tx1">
                    <a:tint val="82000"/>
                  </a:schemeClr>
                </a:solidFill>
              </a:defRPr>
            </a:lvl3pPr>
            <a:lvl4pPr marL="1369508" indent="0">
              <a:buNone/>
              <a:defRPr sz="1598">
                <a:solidFill>
                  <a:schemeClr val="tx1">
                    <a:tint val="82000"/>
                  </a:schemeClr>
                </a:solidFill>
              </a:defRPr>
            </a:lvl4pPr>
            <a:lvl5pPr marL="1826011" indent="0">
              <a:buNone/>
              <a:defRPr sz="1598">
                <a:solidFill>
                  <a:schemeClr val="tx1">
                    <a:tint val="82000"/>
                  </a:schemeClr>
                </a:solidFill>
              </a:defRPr>
            </a:lvl5pPr>
            <a:lvl6pPr marL="2282514" indent="0">
              <a:buNone/>
              <a:defRPr sz="1598">
                <a:solidFill>
                  <a:schemeClr val="tx1">
                    <a:tint val="82000"/>
                  </a:schemeClr>
                </a:solidFill>
              </a:defRPr>
            </a:lvl6pPr>
            <a:lvl7pPr marL="2739017" indent="0">
              <a:buNone/>
              <a:defRPr sz="1598">
                <a:solidFill>
                  <a:schemeClr val="tx1">
                    <a:tint val="82000"/>
                  </a:schemeClr>
                </a:solidFill>
              </a:defRPr>
            </a:lvl7pPr>
            <a:lvl8pPr marL="3195519" indent="0">
              <a:buNone/>
              <a:defRPr sz="1598">
                <a:solidFill>
                  <a:schemeClr val="tx1">
                    <a:tint val="82000"/>
                  </a:schemeClr>
                </a:solidFill>
              </a:defRPr>
            </a:lvl8pPr>
            <a:lvl9pPr marL="3652022" indent="0">
              <a:buNone/>
              <a:defRPr sz="1598">
                <a:solidFill>
                  <a:schemeClr val="tx1">
                    <a:tint val="82000"/>
                  </a:schemeClr>
                </a:solidFill>
              </a:defRPr>
            </a:lvl9pPr>
          </a:lstStyle>
          <a:p>
            <a:pPr lvl="0"/>
            <a:r>
              <a:rPr lang="it-IT"/>
              <a:t>Fare clic per modificare gli stili del testo dello schema</a:t>
            </a:r>
          </a:p>
        </p:txBody>
      </p:sp>
      <p:sp>
        <p:nvSpPr>
          <p:cNvPr id="4" name="Date Placeholder 3"/>
          <p:cNvSpPr>
            <a:spLocks noGrp="1"/>
          </p:cNvSpPr>
          <p:nvPr>
            <p:ph type="dt" sz="half" idx="10"/>
          </p:nvPr>
        </p:nvSpPr>
        <p:spPr>
          <a:xfrm>
            <a:off x="10207021" y="6356350"/>
            <a:ext cx="1146779" cy="365125"/>
          </a:xfrm>
          <a:prstGeom prst="rect">
            <a:avLst/>
          </a:prstGeom>
        </p:spPr>
        <p:txBody>
          <a:bodyPr/>
          <a:lstStyle/>
          <a:p>
            <a:fld id="{002A6A2A-1D08-2443-A88C-F5FF5EF17AC7}" type="datetime1">
              <a:rPr lang="it-IT" smtClean="0"/>
              <a:t>19/02/2026</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335556039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5" name="Date Placeholder 4"/>
          <p:cNvSpPr>
            <a:spLocks noGrp="1"/>
          </p:cNvSpPr>
          <p:nvPr>
            <p:ph type="dt" sz="half" idx="10"/>
          </p:nvPr>
        </p:nvSpPr>
        <p:spPr>
          <a:xfrm>
            <a:off x="10207021" y="6356350"/>
            <a:ext cx="1146779" cy="365125"/>
          </a:xfrm>
          <a:prstGeom prst="rect">
            <a:avLst/>
          </a:prstGeom>
        </p:spPr>
        <p:txBody>
          <a:bodyPr/>
          <a:lstStyle/>
          <a:p>
            <a:fld id="{7D29CD10-44A0-2A42-BBB8-DDAC56509160}" type="datetime1">
              <a:rPr lang="it-IT" smtClean="0"/>
              <a:t>19/02/2026</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346267489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4"/>
          </a:xfrm>
        </p:spPr>
        <p:txBody>
          <a:bodyPr/>
          <a:lstStyle/>
          <a:p>
            <a:r>
              <a:rPr lang="it-IT"/>
              <a:t>Fare clic per modificare lo stile del titolo dello schema</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396" b="1"/>
            </a:lvl1pPr>
            <a:lvl2pPr marL="456503" indent="0">
              <a:buNone/>
              <a:defRPr sz="1997" b="1"/>
            </a:lvl2pPr>
            <a:lvl3pPr marL="913006" indent="0">
              <a:buNone/>
              <a:defRPr sz="1797" b="1"/>
            </a:lvl3pPr>
            <a:lvl4pPr marL="1369508" indent="0">
              <a:buNone/>
              <a:defRPr sz="1598" b="1"/>
            </a:lvl4pPr>
            <a:lvl5pPr marL="1826011" indent="0">
              <a:buNone/>
              <a:defRPr sz="1598" b="1"/>
            </a:lvl5pPr>
            <a:lvl6pPr marL="2282514" indent="0">
              <a:buNone/>
              <a:defRPr sz="1598" b="1"/>
            </a:lvl6pPr>
            <a:lvl7pPr marL="2739017" indent="0">
              <a:buNone/>
              <a:defRPr sz="1598" b="1"/>
            </a:lvl7pPr>
            <a:lvl8pPr marL="3195519" indent="0">
              <a:buNone/>
              <a:defRPr sz="1598" b="1"/>
            </a:lvl8pPr>
            <a:lvl9pPr marL="3652022" indent="0">
              <a:buNone/>
              <a:defRPr sz="1598" b="1"/>
            </a:lvl9pPr>
          </a:lstStyle>
          <a:p>
            <a:pPr lvl="0"/>
            <a:r>
              <a:rPr lang="it-IT"/>
              <a:t>Fare clic per modificare gli stili del testo dello schema</a:t>
            </a:r>
          </a:p>
        </p:txBody>
      </p:sp>
      <p:sp>
        <p:nvSpPr>
          <p:cNvPr id="4" name="Content Placeholder 3"/>
          <p:cNvSpPr>
            <a:spLocks noGrp="1"/>
          </p:cNvSpPr>
          <p:nvPr>
            <p:ph sz="half" idx="2"/>
          </p:nvPr>
        </p:nvSpPr>
        <p:spPr>
          <a:xfrm>
            <a:off x="839789" y="2505075"/>
            <a:ext cx="5157787"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396" b="1"/>
            </a:lvl1pPr>
            <a:lvl2pPr marL="456503" indent="0">
              <a:buNone/>
              <a:defRPr sz="1997" b="1"/>
            </a:lvl2pPr>
            <a:lvl3pPr marL="913006" indent="0">
              <a:buNone/>
              <a:defRPr sz="1797" b="1"/>
            </a:lvl3pPr>
            <a:lvl4pPr marL="1369508" indent="0">
              <a:buNone/>
              <a:defRPr sz="1598" b="1"/>
            </a:lvl4pPr>
            <a:lvl5pPr marL="1826011" indent="0">
              <a:buNone/>
              <a:defRPr sz="1598" b="1"/>
            </a:lvl5pPr>
            <a:lvl6pPr marL="2282514" indent="0">
              <a:buNone/>
              <a:defRPr sz="1598" b="1"/>
            </a:lvl6pPr>
            <a:lvl7pPr marL="2739017" indent="0">
              <a:buNone/>
              <a:defRPr sz="1598" b="1"/>
            </a:lvl7pPr>
            <a:lvl8pPr marL="3195519" indent="0">
              <a:buNone/>
              <a:defRPr sz="1598" b="1"/>
            </a:lvl8pPr>
            <a:lvl9pPr marL="3652022" indent="0">
              <a:buNone/>
              <a:defRPr sz="1598" b="1"/>
            </a:lvl9pPr>
          </a:lstStyle>
          <a:p>
            <a:pPr lvl="0"/>
            <a:r>
              <a:rPr lang="it-IT"/>
              <a:t>Fare clic per modificare gli stili del testo dello schema</a:t>
            </a:r>
          </a:p>
        </p:txBody>
      </p:sp>
      <p:sp>
        <p:nvSpPr>
          <p:cNvPr id="6" name="Content Placeholder 5"/>
          <p:cNvSpPr>
            <a:spLocks noGrp="1"/>
          </p:cNvSpPr>
          <p:nvPr>
            <p:ph sz="quarter" idx="4"/>
          </p:nvPr>
        </p:nvSpPr>
        <p:spPr>
          <a:xfrm>
            <a:off x="6172201" y="2505075"/>
            <a:ext cx="5183188"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7" name="Date Placeholder 6"/>
          <p:cNvSpPr>
            <a:spLocks noGrp="1"/>
          </p:cNvSpPr>
          <p:nvPr>
            <p:ph type="dt" sz="half" idx="10"/>
          </p:nvPr>
        </p:nvSpPr>
        <p:spPr>
          <a:xfrm>
            <a:off x="10207021" y="6356350"/>
            <a:ext cx="1146779" cy="365125"/>
          </a:xfrm>
          <a:prstGeom prst="rect">
            <a:avLst/>
          </a:prstGeom>
        </p:spPr>
        <p:txBody>
          <a:bodyPr/>
          <a:lstStyle/>
          <a:p>
            <a:fld id="{D2D25FB2-7AFE-654F-A4DB-3E49CD595B79}" type="datetime1">
              <a:rPr lang="it-IT" smtClean="0"/>
              <a:t>19/02/2026</a:t>
            </a:fld>
            <a:endParaRPr lang="it-IT"/>
          </a:p>
        </p:txBody>
      </p:sp>
      <p:sp>
        <p:nvSpPr>
          <p:cNvPr id="8" name="Footer Placeholder 7"/>
          <p:cNvSpPr>
            <a:spLocks noGrp="1"/>
          </p:cNvSpPr>
          <p:nvPr>
            <p:ph type="ftr" sz="quarter" idx="11"/>
          </p:nvPr>
        </p:nvSpPr>
        <p:spPr/>
        <p:txBody>
          <a:bodyPr/>
          <a:lstStyle/>
          <a:p>
            <a:endParaRPr lang="it-IT"/>
          </a:p>
        </p:txBody>
      </p:sp>
      <p:sp>
        <p:nvSpPr>
          <p:cNvPr id="9" name="Slide Number Placeholder 8"/>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136916356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Date Placeholder 2"/>
          <p:cNvSpPr>
            <a:spLocks noGrp="1"/>
          </p:cNvSpPr>
          <p:nvPr>
            <p:ph type="dt" sz="half" idx="10"/>
          </p:nvPr>
        </p:nvSpPr>
        <p:spPr>
          <a:xfrm>
            <a:off x="10207021" y="6356350"/>
            <a:ext cx="1146779" cy="365125"/>
          </a:xfrm>
          <a:prstGeom prst="rect">
            <a:avLst/>
          </a:prstGeom>
        </p:spPr>
        <p:txBody>
          <a:bodyPr/>
          <a:lstStyle/>
          <a:p>
            <a:fld id="{BDBD61BC-EF53-C14A-9BE5-1695476B400A}" type="datetime1">
              <a:rPr lang="it-IT" smtClean="0"/>
              <a:t>19/02/2026</a:t>
            </a:fld>
            <a:endParaRPr lang="it-IT"/>
          </a:p>
        </p:txBody>
      </p:sp>
      <p:sp>
        <p:nvSpPr>
          <p:cNvPr id="4" name="Footer Placeholder 3"/>
          <p:cNvSpPr>
            <a:spLocks noGrp="1"/>
          </p:cNvSpPr>
          <p:nvPr>
            <p:ph type="ftr" sz="quarter" idx="11"/>
          </p:nvPr>
        </p:nvSpPr>
        <p:spPr/>
        <p:txBody>
          <a:bodyPr/>
          <a:lstStyle/>
          <a:p>
            <a:endParaRPr lang="it-IT"/>
          </a:p>
        </p:txBody>
      </p:sp>
      <p:sp>
        <p:nvSpPr>
          <p:cNvPr id="5" name="Slide Number Placeholder 4"/>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29478663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7F156A-10D0-435D-95B1-D7768F29813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617F156A-10D0-435D-95B1-D7768F29813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334435" y="2085629"/>
            <a:ext cx="11523132" cy="3909819"/>
          </a:xfrm>
        </p:spPr>
        <p:txBody>
          <a:bodyPr/>
          <a:lstStyle>
            <a:lvl1pPr>
              <a:lnSpc>
                <a:spcPct val="100000"/>
              </a:lnSpc>
              <a:spcBef>
                <a:spcPts val="0"/>
              </a:spcBef>
              <a:spcAft>
                <a:spcPts val="0"/>
              </a:spcAft>
              <a:defRPr sz="2133">
                <a:latin typeface="Univers Condensed" panose="020B0506020202050204" pitchFamily="34" charset="0"/>
                <a:ea typeface="+mn-ea"/>
                <a:cs typeface="+mn-cs"/>
              </a:defRPr>
            </a:lvl1pPr>
            <a:lvl2pPr>
              <a:lnSpc>
                <a:spcPct val="100000"/>
              </a:lnSpc>
              <a:spcBef>
                <a:spcPts val="0"/>
              </a:spcBef>
              <a:spcAft>
                <a:spcPts val="0"/>
              </a:spcAft>
              <a:defRPr sz="2133">
                <a:latin typeface="Univers Condensed" panose="020B0506020202050204" pitchFamily="34" charset="0"/>
                <a:ea typeface="+mn-ea"/>
                <a:cs typeface="+mn-cs"/>
              </a:defRPr>
            </a:lvl2pPr>
            <a:lvl3pPr>
              <a:lnSpc>
                <a:spcPct val="100000"/>
              </a:lnSpc>
              <a:spcBef>
                <a:spcPts val="0"/>
              </a:spcBef>
              <a:spcAft>
                <a:spcPts val="0"/>
              </a:spcAft>
              <a:defRPr sz="2133">
                <a:latin typeface="Univers Condensed" panose="020B0506020202050204" pitchFamily="34" charset="0"/>
                <a:ea typeface="+mn-ea"/>
                <a:cs typeface="+mn-cs"/>
              </a:defRPr>
            </a:lvl3pPr>
            <a:lvl4pPr>
              <a:lnSpc>
                <a:spcPct val="100000"/>
              </a:lnSpc>
              <a:spcBef>
                <a:spcPts val="0"/>
              </a:spcBef>
              <a:spcAft>
                <a:spcPts val="0"/>
              </a:spcAft>
              <a:defRPr sz="2933">
                <a:latin typeface="Univers Condensed" panose="020B0506020202050204" pitchFamily="34" charset="0"/>
                <a:ea typeface="+mn-ea"/>
                <a:cs typeface="+mn-cs"/>
              </a:defRPr>
            </a:lvl4pPr>
            <a:lvl5pPr>
              <a:lnSpc>
                <a:spcPct val="100000"/>
              </a:lnSpc>
              <a:spcBef>
                <a:spcPts val="0"/>
              </a:spcBef>
              <a:spcAft>
                <a:spcPts val="0"/>
              </a:spcAft>
              <a:defRPr sz="2933">
                <a:latin typeface="Univers Condensed" panose="020B0506020202050204" pitchFamily="34" charset="0"/>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6" name="Title 5">
            <a:extLst>
              <a:ext uri="{FF2B5EF4-FFF2-40B4-BE49-F238E27FC236}">
                <a16:creationId xmlns:a16="http://schemas.microsoft.com/office/drawing/2014/main" id="{A3FD7911-66D3-4E34-96AB-00957A8447AD}"/>
              </a:ext>
            </a:extLst>
          </p:cNvPr>
          <p:cNvSpPr>
            <a:spLocks noGrp="1"/>
          </p:cNvSpPr>
          <p:nvPr>
            <p:ph type="title" hasCustomPrompt="1"/>
          </p:nvPr>
        </p:nvSpPr>
        <p:spPr>
          <a:xfrm>
            <a:off x="334435" y="357719"/>
            <a:ext cx="11523132" cy="443199"/>
          </a:xfrm>
        </p:spPr>
        <p:txBody>
          <a:bodyPr vert="horz">
            <a:spAutoFit/>
          </a:bodyPr>
          <a:lstStyle>
            <a:lvl1pPr>
              <a:defRPr sz="3200">
                <a:latin typeface="Univers Condensed" panose="020B0506020202050204" pitchFamily="34" charset="0"/>
                <a:ea typeface="+mj-ea"/>
                <a:cs typeface="+mj-cs"/>
              </a:defRPr>
            </a:lvl1pPr>
          </a:lstStyle>
          <a:p>
            <a:r>
              <a:rPr lang="en-US" dirty="0"/>
              <a:t>Click to add title</a:t>
            </a:r>
          </a:p>
        </p:txBody>
      </p:sp>
    </p:spTree>
    <p:extLst>
      <p:ext uri="{BB962C8B-B14F-4D97-AF65-F5344CB8AC3E}">
        <p14:creationId xmlns:p14="http://schemas.microsoft.com/office/powerpoint/2010/main" val="23616291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6266493"/>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195"/>
            </a:lvl1pPr>
          </a:lstStyle>
          <a:p>
            <a:r>
              <a:rPr lang="it-IT"/>
              <a:t>Fare clic per modificare lo stile del titolo dello schema</a:t>
            </a:r>
            <a:endParaRPr lang="en-US" dirty="0"/>
          </a:p>
        </p:txBody>
      </p:sp>
      <p:sp>
        <p:nvSpPr>
          <p:cNvPr id="3" name="Content Placeholder 2"/>
          <p:cNvSpPr>
            <a:spLocks noGrp="1"/>
          </p:cNvSpPr>
          <p:nvPr>
            <p:ph idx="1"/>
          </p:nvPr>
        </p:nvSpPr>
        <p:spPr>
          <a:xfrm>
            <a:off x="5183188" y="987426"/>
            <a:ext cx="6172200" cy="4873625"/>
          </a:xfrm>
        </p:spPr>
        <p:txBody>
          <a:bodyPr/>
          <a:lstStyle>
            <a:lvl1pPr>
              <a:defRPr sz="3195"/>
            </a:lvl1pPr>
            <a:lvl2pPr>
              <a:defRPr sz="2796"/>
            </a:lvl2pPr>
            <a:lvl3pPr>
              <a:defRPr sz="2396"/>
            </a:lvl3pPr>
            <a:lvl4pPr>
              <a:defRPr sz="1997"/>
            </a:lvl4pPr>
            <a:lvl5pPr>
              <a:defRPr sz="1997"/>
            </a:lvl5pPr>
            <a:lvl6pPr>
              <a:defRPr sz="1997"/>
            </a:lvl6pPr>
            <a:lvl7pPr>
              <a:defRPr sz="1997"/>
            </a:lvl7pPr>
            <a:lvl8pPr>
              <a:defRPr sz="1997"/>
            </a:lvl8pPr>
            <a:lvl9pPr>
              <a:defRPr sz="1997"/>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598"/>
            </a:lvl1pPr>
            <a:lvl2pPr marL="456503" indent="0">
              <a:buNone/>
              <a:defRPr sz="1398"/>
            </a:lvl2pPr>
            <a:lvl3pPr marL="913006" indent="0">
              <a:buNone/>
              <a:defRPr sz="1198"/>
            </a:lvl3pPr>
            <a:lvl4pPr marL="1369508" indent="0">
              <a:buNone/>
              <a:defRPr sz="998"/>
            </a:lvl4pPr>
            <a:lvl5pPr marL="1826011" indent="0">
              <a:buNone/>
              <a:defRPr sz="998"/>
            </a:lvl5pPr>
            <a:lvl6pPr marL="2282514" indent="0">
              <a:buNone/>
              <a:defRPr sz="998"/>
            </a:lvl6pPr>
            <a:lvl7pPr marL="2739017" indent="0">
              <a:buNone/>
              <a:defRPr sz="998"/>
            </a:lvl7pPr>
            <a:lvl8pPr marL="3195519" indent="0">
              <a:buNone/>
              <a:defRPr sz="998"/>
            </a:lvl8pPr>
            <a:lvl9pPr marL="3652022" indent="0">
              <a:buNone/>
              <a:defRPr sz="998"/>
            </a:lvl9pPr>
          </a:lstStyle>
          <a:p>
            <a:pPr lvl="0"/>
            <a:r>
              <a:rPr lang="it-IT"/>
              <a:t>Fare clic per modificare gli stili del testo dello schema</a:t>
            </a:r>
          </a:p>
        </p:txBody>
      </p:sp>
      <p:sp>
        <p:nvSpPr>
          <p:cNvPr id="5" name="Date Placeholder 4"/>
          <p:cNvSpPr>
            <a:spLocks noGrp="1"/>
          </p:cNvSpPr>
          <p:nvPr>
            <p:ph type="dt" sz="half" idx="10"/>
          </p:nvPr>
        </p:nvSpPr>
        <p:spPr>
          <a:xfrm>
            <a:off x="10207021" y="6356350"/>
            <a:ext cx="1146779" cy="365125"/>
          </a:xfrm>
          <a:prstGeom prst="rect">
            <a:avLst/>
          </a:prstGeom>
        </p:spPr>
        <p:txBody>
          <a:bodyPr/>
          <a:lstStyle/>
          <a:p>
            <a:fld id="{D9EC961B-EE2C-AC41-A880-AFCF7A742B29}" type="datetime1">
              <a:rPr lang="it-IT" smtClean="0"/>
              <a:t>19/02/2026</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211336146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195"/>
            </a:lvl1pPr>
          </a:lstStyle>
          <a:p>
            <a:r>
              <a:rPr lang="it-IT"/>
              <a:t>Fare clic per modificare lo stile del titolo dello schema</a:t>
            </a:r>
            <a:endParaRPr lang="en-US" dirty="0"/>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195"/>
            </a:lvl1pPr>
            <a:lvl2pPr marL="456503" indent="0">
              <a:buNone/>
              <a:defRPr sz="2796"/>
            </a:lvl2pPr>
            <a:lvl3pPr marL="913006" indent="0">
              <a:buNone/>
              <a:defRPr sz="2396"/>
            </a:lvl3pPr>
            <a:lvl4pPr marL="1369508" indent="0">
              <a:buNone/>
              <a:defRPr sz="1997"/>
            </a:lvl4pPr>
            <a:lvl5pPr marL="1826011" indent="0">
              <a:buNone/>
              <a:defRPr sz="1997"/>
            </a:lvl5pPr>
            <a:lvl6pPr marL="2282514" indent="0">
              <a:buNone/>
              <a:defRPr sz="1997"/>
            </a:lvl6pPr>
            <a:lvl7pPr marL="2739017" indent="0">
              <a:buNone/>
              <a:defRPr sz="1997"/>
            </a:lvl7pPr>
            <a:lvl8pPr marL="3195519" indent="0">
              <a:buNone/>
              <a:defRPr sz="1997"/>
            </a:lvl8pPr>
            <a:lvl9pPr marL="3652022" indent="0">
              <a:buNone/>
              <a:defRPr sz="1997"/>
            </a:lvl9pPr>
          </a:lstStyle>
          <a:p>
            <a:r>
              <a:rPr lang="it-IT"/>
              <a:t>Fare clic sull'icona per inserire un'immagin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598"/>
            </a:lvl1pPr>
            <a:lvl2pPr marL="456503" indent="0">
              <a:buNone/>
              <a:defRPr sz="1398"/>
            </a:lvl2pPr>
            <a:lvl3pPr marL="913006" indent="0">
              <a:buNone/>
              <a:defRPr sz="1198"/>
            </a:lvl3pPr>
            <a:lvl4pPr marL="1369508" indent="0">
              <a:buNone/>
              <a:defRPr sz="998"/>
            </a:lvl4pPr>
            <a:lvl5pPr marL="1826011" indent="0">
              <a:buNone/>
              <a:defRPr sz="998"/>
            </a:lvl5pPr>
            <a:lvl6pPr marL="2282514" indent="0">
              <a:buNone/>
              <a:defRPr sz="998"/>
            </a:lvl6pPr>
            <a:lvl7pPr marL="2739017" indent="0">
              <a:buNone/>
              <a:defRPr sz="998"/>
            </a:lvl7pPr>
            <a:lvl8pPr marL="3195519" indent="0">
              <a:buNone/>
              <a:defRPr sz="998"/>
            </a:lvl8pPr>
            <a:lvl9pPr marL="3652022" indent="0">
              <a:buNone/>
              <a:defRPr sz="998"/>
            </a:lvl9pPr>
          </a:lstStyle>
          <a:p>
            <a:pPr lvl="0"/>
            <a:r>
              <a:rPr lang="it-IT"/>
              <a:t>Fare clic per modificare gli stili del testo dello schema</a:t>
            </a:r>
          </a:p>
        </p:txBody>
      </p:sp>
      <p:sp>
        <p:nvSpPr>
          <p:cNvPr id="5" name="Date Placeholder 4"/>
          <p:cNvSpPr>
            <a:spLocks noGrp="1"/>
          </p:cNvSpPr>
          <p:nvPr>
            <p:ph type="dt" sz="half" idx="10"/>
          </p:nvPr>
        </p:nvSpPr>
        <p:spPr>
          <a:xfrm>
            <a:off x="10207021" y="6356350"/>
            <a:ext cx="1146779" cy="365125"/>
          </a:xfrm>
          <a:prstGeom prst="rect">
            <a:avLst/>
          </a:prstGeom>
        </p:spPr>
        <p:txBody>
          <a:bodyPr/>
          <a:lstStyle/>
          <a:p>
            <a:fld id="{461FC899-FEF5-EB4F-9C76-AD12C65FBB7A}" type="datetime1">
              <a:rPr lang="it-IT" smtClean="0"/>
              <a:t>19/02/2026</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1359613649"/>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Vertical Text Placeholder 2"/>
          <p:cNvSpPr>
            <a:spLocks noGrp="1"/>
          </p:cNvSpPr>
          <p:nvPr>
            <p:ph type="body" orient="vert" idx="1"/>
          </p:nvPr>
        </p:nvSpPr>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a:xfrm>
            <a:off x="10207021" y="6356350"/>
            <a:ext cx="1146779" cy="365125"/>
          </a:xfrm>
          <a:prstGeom prst="rect">
            <a:avLst/>
          </a:prstGeom>
        </p:spPr>
        <p:txBody>
          <a:bodyPr/>
          <a:lstStyle/>
          <a:p>
            <a:fld id="{ACFD8524-CE43-AF4D-B9C4-E98DD9B47007}" type="datetime1">
              <a:rPr lang="it-IT" smtClean="0"/>
              <a:t>19/02/2026</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2575050980"/>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4"/>
            <a:ext cx="2628900" cy="5811839"/>
          </a:xfrm>
        </p:spPr>
        <p:txBody>
          <a:bodyPr vert="eaVert"/>
          <a:lstStyle/>
          <a:p>
            <a:r>
              <a:rPr lang="it-IT"/>
              <a:t>Fare clic per modificare lo stile del titolo dello schema</a:t>
            </a:r>
            <a:endParaRPr lang="en-US" dirty="0"/>
          </a:p>
        </p:txBody>
      </p:sp>
      <p:sp>
        <p:nvSpPr>
          <p:cNvPr id="3" name="Vertical Text Placeholder 2"/>
          <p:cNvSpPr>
            <a:spLocks noGrp="1"/>
          </p:cNvSpPr>
          <p:nvPr>
            <p:ph type="body" orient="vert" idx="1"/>
          </p:nvPr>
        </p:nvSpPr>
        <p:spPr>
          <a:xfrm>
            <a:off x="838201" y="365124"/>
            <a:ext cx="7734300" cy="5811839"/>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a:xfrm>
            <a:off x="10207021" y="6356350"/>
            <a:ext cx="1146779" cy="365125"/>
          </a:xfrm>
          <a:prstGeom prst="rect">
            <a:avLst/>
          </a:prstGeom>
        </p:spPr>
        <p:txBody>
          <a:bodyPr/>
          <a:lstStyle/>
          <a:p>
            <a:fld id="{B659C56F-E988-984E-B7CD-2B68C86597D9}" type="datetime1">
              <a:rPr lang="it-IT" smtClean="0"/>
              <a:t>19/02/2026</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13203468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D32218-E21A-4B8F-82D3-F0E90770E85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8ED32218-E21A-4B8F-82D3-F0E90770E85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Univers Condensed" panose="020B0506020202050204" pitchFamily="34" charset="0"/>
              <a:ea typeface="+mn-ea"/>
              <a:cs typeface="+mn-cs"/>
            </a:endParaRPr>
          </a:p>
        </p:txBody>
      </p:sp>
      <p:sp>
        <p:nvSpPr>
          <p:cNvPr id="9" name="Title 1"/>
          <p:cNvSpPr>
            <a:spLocks noGrp="1"/>
          </p:cNvSpPr>
          <p:nvPr>
            <p:ph type="title" hasCustomPrompt="1"/>
          </p:nvPr>
        </p:nvSpPr>
        <p:spPr bwMode="ltGray">
          <a:xfrm>
            <a:off x="334435" y="1544273"/>
            <a:ext cx="3747967" cy="1495795"/>
          </a:xfrm>
          <a:noFill/>
        </p:spPr>
        <p:txBody>
          <a:bodyPr vert="horz" wrap="square" lIns="0" tIns="0" rIns="320040" bIns="0" anchor="b">
            <a:noAutofit/>
          </a:bodyPr>
          <a:lstStyle>
            <a:lvl1pPr>
              <a:defRPr sz="3200">
                <a:solidFill>
                  <a:schemeClr val="tx2"/>
                </a:solidFill>
                <a:latin typeface="Univers Condensed" panose="020B0506020202050204" pitchFamily="34" charset="0"/>
                <a:ea typeface="+mj-ea"/>
                <a:cs typeface="+mj-cs"/>
              </a:defRPr>
            </a:lvl1pPr>
          </a:lstStyle>
          <a:p>
            <a:r>
              <a:rPr lang="en-US" dirty="0"/>
              <a:t>Click to add title</a:t>
            </a:r>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12" name="Slide Number Placeholder 5">
            <a:extLst>
              <a:ext uri="{FF2B5EF4-FFF2-40B4-BE49-F238E27FC236}">
                <a16:creationId xmlns:a16="http://schemas.microsoft.com/office/drawing/2014/main" id="{88557A02-CCA7-4F09-BE51-852DA504575B}"/>
              </a:ext>
            </a:extLst>
          </p:cNvPr>
          <p:cNvSpPr txBox="1">
            <a:spLocks/>
          </p:cNvSpPr>
          <p:nvPr userDrawn="1"/>
        </p:nvSpPr>
        <p:spPr>
          <a:xfrm>
            <a:off x="226857" y="6378542"/>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188416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768A506-D0B4-43FD-9497-666B8AE23B5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a:extLst>
                          <a:ext uri="{FF2B5EF4-FFF2-40B4-BE49-F238E27FC236}">
                            <a16:creationId xmlns:a16="http://schemas.microsoft.com/office/drawing/2014/main" id="{3768A506-D0B4-43FD-9497-666B8AE23B5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334435" y="2668041"/>
            <a:ext cx="11523132" cy="3201027"/>
          </a:xfrm>
          <a:prstGeom prst="rect">
            <a:avLst/>
          </a:prstGeom>
          <a:ln w="9525">
            <a:solidFill>
              <a:schemeClr val="bg1"/>
            </a:solidFill>
          </a:ln>
        </p:spPr>
        <p:txBody>
          <a:bodyPr vert="horz" lIns="274320" tIns="274320" rIns="274320" bIns="137160"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Univers Condensed" panose="020B0506020202050204" pitchFamily="34" charset="0"/>
                <a:ea typeface="+mj-ea"/>
                <a:cs typeface="+mj-cs"/>
                <a:sym typeface="Trebuchet MS" panose="020B0603020202020204" pitchFamily="34" charset="0"/>
              </a:defRPr>
            </a:lvl1pPr>
          </a:lstStyle>
          <a:p>
            <a:r>
              <a:rPr lang="en-US" dirty="0"/>
              <a:t>Click to add big statement text</a:t>
            </a:r>
          </a:p>
        </p:txBody>
      </p:sp>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59" name="Rectangle 58"/>
          <p:cNvSpPr/>
          <p:nvPr userDrawn="1"/>
        </p:nvSpPr>
        <p:spPr bwMode="white">
          <a:xfrm>
            <a:off x="33443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pic>
        <p:nvPicPr>
          <p:cNvPr id="13" name="Immagine 8">
            <a:extLst>
              <a:ext uri="{FF2B5EF4-FFF2-40B4-BE49-F238E27FC236}">
                <a16:creationId xmlns:a16="http://schemas.microsoft.com/office/drawing/2014/main" id="{AED9DF1D-C1FE-4813-B7EE-98EF56F03C0B}"/>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330659E2-875D-4FB2-A116-7F7D15932E89}"/>
              </a:ext>
            </a:extLst>
          </p:cNvPr>
          <p:cNvSpPr txBox="1">
            <a:spLocks/>
          </p:cNvSpPr>
          <p:nvPr userDrawn="1"/>
        </p:nvSpPr>
        <p:spPr>
          <a:xfrm>
            <a:off x="334433" y="6306825"/>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1057544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BFDC08-059E-44B0-9E18-4ED303A0CFC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57BFDC08-059E-44B0-9E18-4ED303A0CFC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334435" y="3826800"/>
            <a:ext cx="11232367" cy="2041200"/>
          </a:xfrm>
        </p:spPr>
        <p:txBody>
          <a:bodyPr vert="horz" anchor="t">
            <a:noAutofit/>
          </a:bodyPr>
          <a:lstStyle>
            <a:lvl1pPr>
              <a:defRPr sz="5333">
                <a:solidFill>
                  <a:schemeClr val="bg1"/>
                </a:solidFill>
                <a:latin typeface="Univers Condensed" panose="020B0506020202050204" pitchFamily="34" charset="0"/>
                <a:ea typeface="+mj-ea"/>
                <a:cs typeface="+mj-cs"/>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334436" y="3680016"/>
            <a:ext cx="11860769"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Immagine 8">
            <a:extLst>
              <a:ext uri="{FF2B5EF4-FFF2-40B4-BE49-F238E27FC236}">
                <a16:creationId xmlns:a16="http://schemas.microsoft.com/office/drawing/2014/main" id="{87E6D5E0-2CAB-47EF-AFE5-355D9CFA258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1" name="Slide Number Placeholder 5">
            <a:extLst>
              <a:ext uri="{FF2B5EF4-FFF2-40B4-BE49-F238E27FC236}">
                <a16:creationId xmlns:a16="http://schemas.microsoft.com/office/drawing/2014/main" id="{26FD2180-13A8-4635-B248-947CD3903491}"/>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6752278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8120B9-7ED2-44C7-AF9B-533E79AE7FF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C38120B9-7ED2-44C7-AF9B-533E79AE7FF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4064997" y="0"/>
            <a:ext cx="416951" cy="6858000"/>
          </a:xfrm>
          <a:prstGeom prst="rect">
            <a:avLst/>
          </a:prstGeom>
        </p:spPr>
      </p:pic>
      <p:sp>
        <p:nvSpPr>
          <p:cNvPr id="2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26" name="Rectangle 25"/>
          <p:cNvSpPr/>
          <p:nvPr userDrawn="1"/>
        </p:nvSpPr>
        <p:spPr bwMode="white">
          <a:xfrm>
            <a:off x="2"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27"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3200">
                <a:solidFill>
                  <a:schemeClr val="tx2"/>
                </a:solidFill>
                <a:latin typeface="Univers Condensed" panose="020B0506020202050204" pitchFamily="34" charset="0"/>
                <a:ea typeface="+mj-ea"/>
                <a:cs typeface="+mj-cs"/>
                <a:sym typeface="Trebuchet MS" panose="020B0603020202020204" pitchFamily="34" charset="0"/>
              </a:defRPr>
            </a:lvl1pPr>
          </a:lstStyle>
          <a:p>
            <a:r>
              <a:rPr lang="en-US" dirty="0"/>
              <a:t>Click to add title</a:t>
            </a:r>
          </a:p>
        </p:txBody>
      </p:sp>
      <p:pic>
        <p:nvPicPr>
          <p:cNvPr id="12" name="Immagine 8">
            <a:extLst>
              <a:ext uri="{FF2B5EF4-FFF2-40B4-BE49-F238E27FC236}">
                <a16:creationId xmlns:a16="http://schemas.microsoft.com/office/drawing/2014/main" id="{FFBAC688-DD1D-4FC3-9453-EB40FD2E509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C7C0CC3C-048F-45D4-BE35-9C33EFE3888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364019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84365A-F2BC-4145-A8B0-C17EA9D6C42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7784365A-F2BC-4145-A8B0-C17EA9D6C42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7165609" y="0"/>
            <a:ext cx="416951" cy="6858000"/>
          </a:xfrm>
          <a:prstGeom prst="rect">
            <a:avLst/>
          </a:prstGeom>
        </p:spPr>
      </p:pic>
      <p:sp>
        <p:nvSpPr>
          <p:cNvPr id="13" name="Rectangle 12"/>
          <p:cNvSpPr/>
          <p:nvPr userDrawn="1"/>
        </p:nvSpPr>
        <p:spPr bwMode="white">
          <a:xfrm>
            <a:off x="2"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2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6" name="Title 5">
            <a:extLst>
              <a:ext uri="{FF2B5EF4-FFF2-40B4-BE49-F238E27FC236}">
                <a16:creationId xmlns:a16="http://schemas.microsoft.com/office/drawing/2014/main" id="{2E2F6E00-2FD8-4E08-B226-BA66A794EB32}"/>
              </a:ext>
            </a:extLst>
          </p:cNvPr>
          <p:cNvSpPr>
            <a:spLocks noGrp="1"/>
          </p:cNvSpPr>
          <p:nvPr>
            <p:ph type="title" hasCustomPrompt="1"/>
          </p:nvPr>
        </p:nvSpPr>
        <p:spPr>
          <a:xfrm>
            <a:off x="334435" y="357719"/>
            <a:ext cx="6552367" cy="443199"/>
          </a:xfrm>
        </p:spPr>
        <p:txBody>
          <a:bodyPr vert="horz">
            <a:spAutoFit/>
          </a:bodyPr>
          <a:lstStyle>
            <a:lvl1pPr>
              <a:defRPr sz="3200">
                <a:latin typeface="Univers Condensed" panose="020B0506020202050204" pitchFamily="34" charset="0"/>
                <a:ea typeface="+mj-ea"/>
                <a:cs typeface="+mj-cs"/>
              </a:defRPr>
            </a:lvl1pPr>
          </a:lstStyle>
          <a:p>
            <a:r>
              <a:rPr lang="en-US" dirty="0"/>
              <a:t>Click to add title</a:t>
            </a:r>
          </a:p>
        </p:txBody>
      </p:sp>
      <p:pic>
        <p:nvPicPr>
          <p:cNvPr id="19" name="Immagine 8">
            <a:extLst>
              <a:ext uri="{FF2B5EF4-FFF2-40B4-BE49-F238E27FC236}">
                <a16:creationId xmlns:a16="http://schemas.microsoft.com/office/drawing/2014/main" id="{CEE6D001-89C4-476B-A257-631996281B3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21" name="Slide Number Placeholder 5">
            <a:extLst>
              <a:ext uri="{FF2B5EF4-FFF2-40B4-BE49-F238E27FC236}">
                <a16:creationId xmlns:a16="http://schemas.microsoft.com/office/drawing/2014/main" id="{EDEB9651-94F9-4C62-80E6-2F7CF2D3DD3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181372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2361674-FA8D-4E7D-A0B1-BDA5C27985B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62361674-FA8D-4E7D-A0B1-BDA5C27985B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11"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3200">
                <a:solidFill>
                  <a:schemeClr val="bg1"/>
                </a:solidFill>
                <a:latin typeface="Univers Condensed" panose="020B0506020202050204" pitchFamily="34" charset="0"/>
                <a:ea typeface="+mj-ea"/>
                <a:cs typeface="+mj-cs"/>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17" name="Immagine 8">
            <a:extLst>
              <a:ext uri="{FF2B5EF4-FFF2-40B4-BE49-F238E27FC236}">
                <a16:creationId xmlns:a16="http://schemas.microsoft.com/office/drawing/2014/main" id="{FF8287E1-5CE5-4AF7-AC45-E2D39835AB8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C98F3EAE-4F98-4558-8672-C0EF47A7C77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31948430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B3AF2B-C75C-4A79-AC78-2FA47A8D7CC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90B3AF2B-C75C-4A79-AC78-2FA47A8D7CC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5689585"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67" baseline="0">
                <a:latin typeface="Univers Condensed" panose="020B0506020202050204" pitchFamily="34" charset="0"/>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334435" y="1785600"/>
            <a:ext cx="4683967" cy="3286800"/>
          </a:xfrm>
          <a:prstGeom prst="rect">
            <a:avLst/>
          </a:prstGeom>
          <a:noFill/>
        </p:spPr>
        <p:txBody>
          <a:bodyPr vert="horz" wrap="square" lIns="0" tIns="0" rIns="320040" bIns="0" anchor="ctr">
            <a:noAutofit/>
          </a:bodyPr>
          <a:lstStyle>
            <a:lvl1pPr>
              <a:defRPr sz="4267">
                <a:solidFill>
                  <a:schemeClr val="bg1"/>
                </a:solidFill>
                <a:latin typeface="Univers Condensed" panose="020B0506020202050204" pitchFamily="34" charset="0"/>
                <a:ea typeface="+mj-ea"/>
                <a:cs typeface="+mj-cs"/>
                <a:sym typeface="Trebuchet MS" panose="020B0603020202020204" pitchFamily="34" charset="0"/>
              </a:defRPr>
            </a:lvl1pPr>
          </a:lstStyle>
          <a:p>
            <a:r>
              <a:rPr lang="en-US" dirty="0"/>
              <a:t>Click to add title</a:t>
            </a: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18" name="Immagine 8">
            <a:extLst>
              <a:ext uri="{FF2B5EF4-FFF2-40B4-BE49-F238E27FC236}">
                <a16:creationId xmlns:a16="http://schemas.microsoft.com/office/drawing/2014/main" id="{ACAF9153-8037-4CC7-B9B1-AE9B5F5F33F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615659" y="6137080"/>
            <a:ext cx="1066064" cy="477891"/>
          </a:xfrm>
          <a:prstGeom prst="rect">
            <a:avLst/>
          </a:prstGeom>
        </p:spPr>
      </p:pic>
      <p:sp>
        <p:nvSpPr>
          <p:cNvPr id="19" name="Slide Number Placeholder 5">
            <a:extLst>
              <a:ext uri="{FF2B5EF4-FFF2-40B4-BE49-F238E27FC236}">
                <a16:creationId xmlns:a16="http://schemas.microsoft.com/office/drawing/2014/main" id="{389B99E6-02EC-474A-80B7-12E7578481C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1220120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4" y="6297858"/>
            <a:ext cx="367181"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741613074"/>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533DE73-17BF-42C8-A740-46AAFAE7D62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4533DE73-17BF-42C8-A740-46AAFAE7D62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7409851" y="0"/>
            <a:ext cx="416951" cy="6858000"/>
          </a:xfrm>
          <a:prstGeom prst="rect">
            <a:avLst/>
          </a:prstGeom>
        </p:spPr>
      </p:pic>
      <p:sp>
        <p:nvSpPr>
          <p:cNvPr id="10" name="Rectangle 9"/>
          <p:cNvSpPr/>
          <p:nvPr userDrawn="1"/>
        </p:nvSpPr>
        <p:spPr bwMode="gray">
          <a:xfrm>
            <a:off x="7819546"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Univers Condensed" panose="020B0506020202050204" pitchFamily="34" charset="0"/>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Copyright" hidden="1"/>
          <p:cNvSpPr txBox="1"/>
          <p:nvPr userDrawn="1"/>
        </p:nvSpPr>
        <p:spPr>
          <a:xfrm rot="16200000">
            <a:off x="9486903" y="3917291"/>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14" name="Title 1"/>
          <p:cNvSpPr>
            <a:spLocks noGrp="1"/>
          </p:cNvSpPr>
          <p:nvPr>
            <p:ph type="title" hasCustomPrompt="1"/>
          </p:nvPr>
        </p:nvSpPr>
        <p:spPr bwMode="blackWhite">
          <a:xfrm>
            <a:off x="334435" y="1804651"/>
            <a:ext cx="6543119" cy="3286800"/>
          </a:xfrm>
          <a:prstGeom prst="rect">
            <a:avLst/>
          </a:prstGeom>
        </p:spPr>
        <p:txBody>
          <a:bodyPr vert="horz" anchor="ctr">
            <a:noAutofit/>
          </a:bodyPr>
          <a:lstStyle>
            <a:lvl1pPr>
              <a:defRPr sz="4267">
                <a:solidFill>
                  <a:schemeClr val="bg1"/>
                </a:solidFill>
                <a:latin typeface="Univers Condensed" panose="020B0506020202050204" pitchFamily="34" charset="0"/>
                <a:ea typeface="+mj-ea"/>
                <a:cs typeface="+mj-cs"/>
                <a:sym typeface="Trebuchet MS" panose="020B0603020202020204" pitchFamily="34" charset="0"/>
              </a:defRPr>
            </a:lvl1pPr>
          </a:lstStyle>
          <a:p>
            <a:r>
              <a:rPr lang="en-US" dirty="0"/>
              <a:t>Click to edit title</a:t>
            </a:r>
          </a:p>
        </p:txBody>
      </p:sp>
      <p:pic>
        <p:nvPicPr>
          <p:cNvPr id="17" name="Immagine 8">
            <a:extLst>
              <a:ext uri="{FF2B5EF4-FFF2-40B4-BE49-F238E27FC236}">
                <a16:creationId xmlns:a16="http://schemas.microsoft.com/office/drawing/2014/main" id="{DEA3A845-F4D4-4EF4-B7C6-7DDB008ED3B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F6579EFC-B6C4-4D39-A4C2-B2AFEA51AA8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18573264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FC9755C-7D14-4E35-A462-8F3BE66D5B3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DFC9755C-7D14-4E35-A462-8F3BE66D5B3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17" name="Title 2"/>
          <p:cNvSpPr>
            <a:spLocks noGrp="1"/>
          </p:cNvSpPr>
          <p:nvPr>
            <p:ph type="title" hasCustomPrompt="1"/>
          </p:nvPr>
        </p:nvSpPr>
        <p:spPr>
          <a:xfrm>
            <a:off x="334435" y="2764206"/>
            <a:ext cx="2774205" cy="1314311"/>
          </a:xfrm>
          <a:prstGeom prst="rect">
            <a:avLst/>
          </a:prstGeom>
        </p:spPr>
        <p:txBody>
          <a:bodyPr vert="horz" anchor="ctr">
            <a:noAutofit/>
          </a:bodyPr>
          <a:lstStyle>
            <a:lvl1pPr>
              <a:defRPr sz="3200" baseline="0">
                <a:solidFill>
                  <a:schemeClr val="tx2"/>
                </a:solidFill>
                <a:latin typeface="Univers Condensed" panose="020B0506020202050204" pitchFamily="34" charset="0"/>
                <a:ea typeface="+mj-ea"/>
                <a:cs typeface="+mj-cs"/>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Immagine 8">
            <a:extLst>
              <a:ext uri="{FF2B5EF4-FFF2-40B4-BE49-F238E27FC236}">
                <a16:creationId xmlns:a16="http://schemas.microsoft.com/office/drawing/2014/main" id="{49DAF236-0BF0-48B4-84D3-4FB03F34DE3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96740C5E-8FC4-4B23-9FC4-B4836E6F0CF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2938606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5A794A-96F4-480E-9632-C38560C5FB9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E05A794A-96F4-480E-9632-C38560C5FB9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3" name="Title 2"/>
          <p:cNvSpPr>
            <a:spLocks noGrp="1"/>
          </p:cNvSpPr>
          <p:nvPr>
            <p:ph type="title" hasCustomPrompt="1"/>
          </p:nvPr>
        </p:nvSpPr>
        <p:spPr>
          <a:xfrm>
            <a:off x="334435" y="2764206"/>
            <a:ext cx="2774205" cy="1314311"/>
          </a:xfrm>
        </p:spPr>
        <p:txBody>
          <a:bodyPr vert="horz" anchor="ctr" anchorCtr="0">
            <a:noAutofit/>
          </a:bodyPr>
          <a:lstStyle>
            <a:lvl1pPr>
              <a:defRPr sz="3200" baseline="0">
                <a:solidFill>
                  <a:srgbClr val="FFFFFF"/>
                </a:solidFill>
                <a:latin typeface="Univers Condensed" panose="020B0506020202050204" pitchFamily="34" charset="0"/>
                <a:ea typeface="+mj-ea"/>
                <a:cs typeface="+mj-cs"/>
              </a:defRPr>
            </a:lvl1pPr>
          </a:lstStyle>
          <a:p>
            <a:r>
              <a:rPr lang="en-US" dirty="0"/>
              <a:t>Click to add title</a:t>
            </a: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Immagine 8">
            <a:extLst>
              <a:ext uri="{FF2B5EF4-FFF2-40B4-BE49-F238E27FC236}">
                <a16:creationId xmlns:a16="http://schemas.microsoft.com/office/drawing/2014/main" id="{2A3F10D3-2047-4B38-944C-B650FC084DA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7" name="Slide Number Placeholder 5">
            <a:extLst>
              <a:ext uri="{FF2B5EF4-FFF2-40B4-BE49-F238E27FC236}">
                <a16:creationId xmlns:a16="http://schemas.microsoft.com/office/drawing/2014/main" id="{7F21979A-0E50-4DE6-B794-2FE52497234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3297054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chemeClr val="tx2"/>
                </a:solidFill>
                <a:latin typeface="Univers Condensed" panose="020B0506020202050204" pitchFamily="34" charset="0"/>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6" name="Immagine 8">
            <a:extLst>
              <a:ext uri="{FF2B5EF4-FFF2-40B4-BE49-F238E27FC236}">
                <a16:creationId xmlns:a16="http://schemas.microsoft.com/office/drawing/2014/main" id="{88D9F09F-8579-4783-AA87-AFBE6DFDF56F}"/>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7" name="Slide Number Placeholder 5">
            <a:extLst>
              <a:ext uri="{FF2B5EF4-FFF2-40B4-BE49-F238E27FC236}">
                <a16:creationId xmlns:a16="http://schemas.microsoft.com/office/drawing/2014/main" id="{5761DB7C-A7F2-4789-AE27-C0716BBD5C3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13138267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1D5A0A-4317-423C-B146-45AF97C418D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421D5A0A-4317-423C-B146-45AF97C418D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rgbClr val="FFFFFF"/>
                </a:solidFill>
                <a:latin typeface="Univers Condensed" panose="020B0506020202050204" pitchFamily="34" charset="0"/>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5" name="Immagine 8">
            <a:extLst>
              <a:ext uri="{FF2B5EF4-FFF2-40B4-BE49-F238E27FC236}">
                <a16:creationId xmlns:a16="http://schemas.microsoft.com/office/drawing/2014/main" id="{91DC7840-09B6-4910-BA26-5E02DF74722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9F67104F-059A-456A-961C-53D2C28AD831}"/>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2252946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13D55E-8FAC-4815-B635-65B454A2F1B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F013D55E-8FAC-4815-B635-65B454A2F1B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14" name="Pentagon 8"/>
          <p:cNvSpPr/>
          <p:nvPr userDrawn="1"/>
        </p:nvSpPr>
        <p:spPr bwMode="white">
          <a:xfrm>
            <a:off x="1" y="0"/>
            <a:ext cx="636354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30D63D7A-D695-45C9-8D0F-526D4E8A412C}"/>
              </a:ext>
            </a:extLst>
          </p:cNvPr>
          <p:cNvSpPr>
            <a:spLocks noGrp="1"/>
          </p:cNvSpPr>
          <p:nvPr>
            <p:ph type="title" hasCustomPrompt="1"/>
          </p:nvPr>
        </p:nvSpPr>
        <p:spPr>
          <a:xfrm>
            <a:off x="334435" y="357719"/>
            <a:ext cx="4969213" cy="443199"/>
          </a:xfrm>
        </p:spPr>
        <p:txBody>
          <a:bodyPr vert="horz"/>
          <a:lstStyle>
            <a:lvl1pPr>
              <a:defRPr sz="3200">
                <a:latin typeface="Univers Condensed" panose="020B0506020202050204" pitchFamily="34" charset="0"/>
                <a:ea typeface="+mj-ea"/>
                <a:cs typeface="+mj-cs"/>
              </a:defRPr>
            </a:lvl1pPr>
          </a:lstStyle>
          <a:p>
            <a:r>
              <a:rPr lang="en-US" dirty="0"/>
              <a:t>Click to add title</a:t>
            </a:r>
          </a:p>
        </p:txBody>
      </p:sp>
      <p:pic>
        <p:nvPicPr>
          <p:cNvPr id="19" name="Immagine 8">
            <a:extLst>
              <a:ext uri="{FF2B5EF4-FFF2-40B4-BE49-F238E27FC236}">
                <a16:creationId xmlns:a16="http://schemas.microsoft.com/office/drawing/2014/main" id="{1D472173-8BEE-4D8C-B1DE-F9AD6801653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20" name="Slide Number Placeholder 5">
            <a:extLst>
              <a:ext uri="{FF2B5EF4-FFF2-40B4-BE49-F238E27FC236}">
                <a16:creationId xmlns:a16="http://schemas.microsoft.com/office/drawing/2014/main" id="{F775688A-1093-4C82-A743-C843DE957FB0}"/>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2873784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9A470C0-81EA-4E4A-9C07-376EB9E24F5F}"/>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C9A470C0-81EA-4E4A-9C07-376EB9E24F5F}"/>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4" name="Pentagon 8"/>
          <p:cNvSpPr/>
          <p:nvPr userDrawn="1"/>
        </p:nvSpPr>
        <p:spPr bwMode="white">
          <a:xfrm>
            <a:off x="1"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4" name="Title 3">
            <a:extLst>
              <a:ext uri="{FF2B5EF4-FFF2-40B4-BE49-F238E27FC236}">
                <a16:creationId xmlns:a16="http://schemas.microsoft.com/office/drawing/2014/main" id="{86719BBB-7510-4256-A7DF-600A68DB2C93}"/>
              </a:ext>
            </a:extLst>
          </p:cNvPr>
          <p:cNvSpPr>
            <a:spLocks noGrp="1"/>
          </p:cNvSpPr>
          <p:nvPr>
            <p:ph type="title" hasCustomPrompt="1"/>
          </p:nvPr>
        </p:nvSpPr>
        <p:spPr>
          <a:xfrm>
            <a:off x="334435" y="357719"/>
            <a:ext cx="4969213" cy="443199"/>
          </a:xfrm>
        </p:spPr>
        <p:txBody>
          <a:bodyPr vert="horz"/>
          <a:lstStyle>
            <a:lvl1pPr>
              <a:defRPr sz="3200">
                <a:solidFill>
                  <a:schemeClr val="bg1"/>
                </a:solidFill>
                <a:latin typeface="Univers Condensed" panose="020B0506020202050204" pitchFamily="34" charset="0"/>
                <a:ea typeface="+mj-ea"/>
                <a:cs typeface="+mj-cs"/>
              </a:defRPr>
            </a:lvl1pPr>
          </a:lstStyle>
          <a:p>
            <a:r>
              <a:rPr lang="en-US" dirty="0"/>
              <a:t>Click to add title</a:t>
            </a:r>
          </a:p>
        </p:txBody>
      </p:sp>
      <p:pic>
        <p:nvPicPr>
          <p:cNvPr id="17" name="Immagine 8">
            <a:extLst>
              <a:ext uri="{FF2B5EF4-FFF2-40B4-BE49-F238E27FC236}">
                <a16:creationId xmlns:a16="http://schemas.microsoft.com/office/drawing/2014/main" id="{80C5828B-D6C6-4099-80A0-E4FC322A32D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7F9E71FD-7FBA-40BF-ADBE-D035D8C5BF39}"/>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40126690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979569-2837-4D11-8CF3-E3B771E7BD6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F6979569-2837-4D11-8CF3-E3B771E7BD6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16" name="Picture 1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A99244E0-37B1-4CEE-8722-003D0EE29350}"/>
              </a:ext>
            </a:extLst>
          </p:cNvPr>
          <p:cNvSpPr>
            <a:spLocks noGrp="1"/>
          </p:cNvSpPr>
          <p:nvPr>
            <p:ph type="title" hasCustomPrompt="1"/>
          </p:nvPr>
        </p:nvSpPr>
        <p:spPr>
          <a:xfrm>
            <a:off x="334435" y="357719"/>
            <a:ext cx="6552367" cy="443199"/>
          </a:xfrm>
        </p:spPr>
        <p:txBody>
          <a:bodyPr vert="horz"/>
          <a:lstStyle>
            <a:lvl1pPr>
              <a:defRPr sz="3200">
                <a:latin typeface="Univers Condensed" panose="020B0506020202050204" pitchFamily="34" charset="0"/>
                <a:ea typeface="+mj-ea"/>
                <a:cs typeface="+mj-cs"/>
              </a:defRPr>
            </a:lvl1pPr>
          </a:lstStyle>
          <a:p>
            <a:r>
              <a:rPr lang="en-US" dirty="0"/>
              <a:t>Click to add title</a:t>
            </a:r>
          </a:p>
        </p:txBody>
      </p:sp>
      <p:pic>
        <p:nvPicPr>
          <p:cNvPr id="17" name="Immagine 8">
            <a:extLst>
              <a:ext uri="{FF2B5EF4-FFF2-40B4-BE49-F238E27FC236}">
                <a16:creationId xmlns:a16="http://schemas.microsoft.com/office/drawing/2014/main" id="{7CA8772E-CB8C-44A0-BF60-63ACCA26D2B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8" name="Slide Number Placeholder 5">
            <a:extLst>
              <a:ext uri="{FF2B5EF4-FFF2-40B4-BE49-F238E27FC236}">
                <a16:creationId xmlns:a16="http://schemas.microsoft.com/office/drawing/2014/main" id="{3C40E75D-2011-43E4-9B7D-25A16F4374D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535941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80696E0-6DEB-47B3-B70B-995D9E432F5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880696E0-6DEB-47B3-B70B-995D9E432F5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4" name="Title 3">
            <a:extLst>
              <a:ext uri="{FF2B5EF4-FFF2-40B4-BE49-F238E27FC236}">
                <a16:creationId xmlns:a16="http://schemas.microsoft.com/office/drawing/2014/main" id="{87205D76-50DA-4F75-85E0-1949D53D98A9}"/>
              </a:ext>
            </a:extLst>
          </p:cNvPr>
          <p:cNvSpPr>
            <a:spLocks noGrp="1"/>
          </p:cNvSpPr>
          <p:nvPr>
            <p:ph type="title" hasCustomPrompt="1"/>
          </p:nvPr>
        </p:nvSpPr>
        <p:spPr>
          <a:xfrm>
            <a:off x="334435" y="357719"/>
            <a:ext cx="6552367" cy="443199"/>
          </a:xfrm>
        </p:spPr>
        <p:txBody>
          <a:bodyPr vert="horz"/>
          <a:lstStyle>
            <a:lvl1pPr>
              <a:defRPr sz="3200">
                <a:solidFill>
                  <a:schemeClr val="bg1"/>
                </a:solidFill>
                <a:latin typeface="Univers Condensed" panose="020B0506020202050204" pitchFamily="34" charset="0"/>
                <a:ea typeface="+mj-ea"/>
                <a:cs typeface="+mj-cs"/>
              </a:defRPr>
            </a:lvl1pPr>
          </a:lstStyle>
          <a:p>
            <a:r>
              <a:rPr lang="en-US" dirty="0"/>
              <a:t>Click to add title</a:t>
            </a:r>
          </a:p>
        </p:txBody>
      </p:sp>
      <p:pic>
        <p:nvPicPr>
          <p:cNvPr id="20" name="Immagine 8">
            <a:extLst>
              <a:ext uri="{FF2B5EF4-FFF2-40B4-BE49-F238E27FC236}">
                <a16:creationId xmlns:a16="http://schemas.microsoft.com/office/drawing/2014/main" id="{1D006B53-EFBD-4C2A-A98C-53700E06B2B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1" name="Slide Number Placeholder 5">
            <a:extLst>
              <a:ext uri="{FF2B5EF4-FFF2-40B4-BE49-F238E27FC236}">
                <a16:creationId xmlns:a16="http://schemas.microsoft.com/office/drawing/2014/main" id="{23864F1C-8F39-43DD-9D4E-093D1B91CAB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2738339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FD584B-9390-416B-8BFF-8B09C98A4EDF}"/>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a:extLst>
                          <a:ext uri="{FF2B5EF4-FFF2-40B4-BE49-F238E27FC236}">
                            <a16:creationId xmlns:a16="http://schemas.microsoft.com/office/drawing/2014/main" id="{96FD584B-9390-416B-8BFF-8B09C98A4EDF}"/>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a:xfrm>
            <a:off x="334435" y="3826335"/>
            <a:ext cx="11523132" cy="1606551"/>
          </a:xfr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Univers Condensed" panose="020B0506020202050204" pitchFamily="34" charset="0"/>
                <a:ea typeface="+mj-ea"/>
                <a:cs typeface="+mj-cs"/>
                <a:sym typeface="Trebuchet MS" panose="020B0603020202020204" pitchFamily="34" charset="0"/>
              </a:defRPr>
            </a:lvl1pPr>
          </a:lstStyle>
          <a:p>
            <a:r>
              <a:rPr lang="en-US" dirty="0"/>
              <a:t>Click to add big statement text</a:t>
            </a:r>
          </a:p>
        </p:txBody>
      </p:sp>
      <p:pic>
        <p:nvPicPr>
          <p:cNvPr id="11" name="Immagine 8">
            <a:extLst>
              <a:ext uri="{FF2B5EF4-FFF2-40B4-BE49-F238E27FC236}">
                <a16:creationId xmlns:a16="http://schemas.microsoft.com/office/drawing/2014/main" id="{538DC126-B747-4415-8024-8803A4E12906}"/>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5A97C092-F465-41BA-B108-CCD6ADD8CAF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19084602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96600" y="6263019"/>
            <a:ext cx="897059" cy="402130"/>
          </a:xfrm>
          <a:prstGeom prst="rect">
            <a:avLst/>
          </a:prstGeom>
        </p:spPr>
      </p:pic>
    </p:spTree>
    <p:extLst>
      <p:ext uri="{BB962C8B-B14F-4D97-AF65-F5344CB8AC3E}">
        <p14:creationId xmlns:p14="http://schemas.microsoft.com/office/powerpoint/2010/main" val="122222510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AED64B1-B515-4AD0-9CB0-466D3CC8C27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2AED64B1-B515-4AD0-9CB0-466D3CC8C27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334433"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5" y="3826335"/>
            <a:ext cx="11523132" cy="1606551"/>
          </a:xfrm>
          <a:prstGeom prst="rect">
            <a:avLst/>
          </a:prstGeo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1"/>
                </a:solidFill>
                <a:latin typeface="Univers Condensed" panose="020B0506020202050204" pitchFamily="34" charset="0"/>
                <a:ea typeface="+mj-ea"/>
                <a:cs typeface="+mj-cs"/>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05494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dirty="0">
              <a:latin typeface="Univers Condensed" panose="020B0506020202050204" pitchFamily="34" charset="0"/>
              <a:ea typeface="+mn-ea"/>
              <a:cs typeface="+mn-cs"/>
              <a:sym typeface="Trebuchet MS" panose="020B0603020202020204" pitchFamily="34" charset="0"/>
            </a:endParaRPr>
          </a:p>
        </p:txBody>
      </p:sp>
      <p:pic>
        <p:nvPicPr>
          <p:cNvPr id="8" name="Immagine 8">
            <a:extLst>
              <a:ext uri="{FF2B5EF4-FFF2-40B4-BE49-F238E27FC236}">
                <a16:creationId xmlns:a16="http://schemas.microsoft.com/office/drawing/2014/main" id="{9B7ABF1D-2721-4A1D-A909-CD5A0EC2A89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9" name="Slide Number Placeholder 5">
            <a:extLst>
              <a:ext uri="{FF2B5EF4-FFF2-40B4-BE49-F238E27FC236}">
                <a16:creationId xmlns:a16="http://schemas.microsoft.com/office/drawing/2014/main" id="{37ACDB5F-405F-4F34-871B-9F28FAD8A2D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41957798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567F9A-30A3-4A19-B91D-4EE69AFC748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a:extLst>
                          <a:ext uri="{FF2B5EF4-FFF2-40B4-BE49-F238E27FC236}">
                            <a16:creationId xmlns:a16="http://schemas.microsoft.com/office/drawing/2014/main" id="{B3567F9A-30A3-4A19-B91D-4EE69AFC748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7" name="Title 6">
            <a:extLst>
              <a:ext uri="{FF2B5EF4-FFF2-40B4-BE49-F238E27FC236}">
                <a16:creationId xmlns:a16="http://schemas.microsoft.com/office/drawing/2014/main" id="{C09700A0-D407-4693-A7AF-6D3FE49296D0}"/>
              </a:ext>
            </a:extLst>
          </p:cNvPr>
          <p:cNvSpPr>
            <a:spLocks noGrp="1"/>
          </p:cNvSpPr>
          <p:nvPr>
            <p:ph type="title" hasCustomPrompt="1"/>
          </p:nvPr>
        </p:nvSpPr>
        <p:spPr>
          <a:xfrm>
            <a:off x="334435" y="357719"/>
            <a:ext cx="11523132" cy="443199"/>
          </a:xfrm>
        </p:spPr>
        <p:txBody>
          <a:bodyPr vert="horz"/>
          <a:lstStyle>
            <a:lvl1pPr>
              <a:defRPr sz="3200">
                <a:solidFill>
                  <a:schemeClr val="bg1"/>
                </a:solidFill>
                <a:latin typeface="Univers Condensed" panose="020B0506020202050204" pitchFamily="34" charset="0"/>
                <a:ea typeface="+mj-ea"/>
                <a:cs typeface="+mj-cs"/>
              </a:defRPr>
            </a:lvl1pPr>
          </a:lstStyle>
          <a:p>
            <a:r>
              <a:rPr lang="en-US" dirty="0"/>
              <a:t>Click to add title</a:t>
            </a:r>
          </a:p>
        </p:txBody>
      </p:sp>
      <p:pic>
        <p:nvPicPr>
          <p:cNvPr id="13" name="Immagine 8">
            <a:extLst>
              <a:ext uri="{FF2B5EF4-FFF2-40B4-BE49-F238E27FC236}">
                <a16:creationId xmlns:a16="http://schemas.microsoft.com/office/drawing/2014/main" id="{188423CC-82A4-46C1-957C-A8DEE7AC171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68CC28E8-B6EF-4C69-9D25-431D210C0DD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1989026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C0D0CFD-440E-4A1A-B6D4-557ECE34D84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5C0D0CFD-440E-4A1A-B6D4-557ECE34D84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155231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DA4FCD8-DC3A-4CAD-B804-D58BBAFFE6A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FDA4FCD8-DC3A-4CAD-B804-D58BBAFFE6A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6" name="Immagine 8">
            <a:extLst>
              <a:ext uri="{FF2B5EF4-FFF2-40B4-BE49-F238E27FC236}">
                <a16:creationId xmlns:a16="http://schemas.microsoft.com/office/drawing/2014/main" id="{5D9462D5-0E11-4205-9DE1-E34A9D86F13B}"/>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8" name="Slide Number Placeholder 5">
            <a:extLst>
              <a:ext uri="{FF2B5EF4-FFF2-40B4-BE49-F238E27FC236}">
                <a16:creationId xmlns:a16="http://schemas.microsoft.com/office/drawing/2014/main" id="{5CC5FD53-A1F6-4C22-8AA8-F5F8EF13042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2261564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884ED4-4D0F-4FFD-9A7C-FF6BB1468F4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51884ED4-4D0F-4FFD-9A7C-FF6BB1468F4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6"/>
          <p:cNvSpPr txBox="1">
            <a:spLocks/>
          </p:cNvSpPr>
          <p:nvPr/>
        </p:nvSpPr>
        <p:spPr>
          <a:xfrm>
            <a:off x="334435" y="2975354"/>
            <a:ext cx="3504140" cy="70179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067" b="1" dirty="0">
                <a:gradFill>
                  <a:gsLst>
                    <a:gs pos="100000">
                      <a:schemeClr val="tx2"/>
                    </a:gs>
                    <a:gs pos="2000">
                      <a:schemeClr val="accent2"/>
                    </a:gs>
                  </a:gsLst>
                  <a:lin ang="2700000" scaled="0"/>
                </a:gradFill>
                <a:latin typeface="Univers Condensed" panose="020B0506020202050204" pitchFamily="34" charset="0"/>
                <a:ea typeface="+mn-ea"/>
                <a:cs typeface="+mn-cs"/>
                <a:sym typeface="Trebuchet MS" panose="020B0603020202020204" pitchFamily="34" charset="0"/>
              </a:rPr>
              <a:t>Disclaimer</a:t>
            </a:r>
          </a:p>
        </p:txBody>
      </p:sp>
      <p:cxnSp>
        <p:nvCxnSpPr>
          <p:cNvPr id="9" name="Straight Connector 8"/>
          <p:cNvCxnSpPr/>
          <p:nvPr/>
        </p:nvCxnSpPr>
        <p:spPr>
          <a:xfrm>
            <a:off x="4367899"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5" name="Text Placeholder 4">
            <a:extLst>
              <a:ext uri="{FF2B5EF4-FFF2-40B4-BE49-F238E27FC236}">
                <a16:creationId xmlns:a16="http://schemas.microsoft.com/office/drawing/2014/main" id="{02927E80-90BA-4A23-BFE1-EE80866C4BA5}"/>
              </a:ext>
            </a:extLst>
          </p:cNvPr>
          <p:cNvSpPr>
            <a:spLocks noGrp="1"/>
          </p:cNvSpPr>
          <p:nvPr>
            <p:ph type="body" sz="quarter" idx="10" hasCustomPrompt="1"/>
          </p:nvPr>
        </p:nvSpPr>
        <p:spPr>
          <a:xfrm>
            <a:off x="5021827" y="1664257"/>
            <a:ext cx="6209072" cy="3323987"/>
          </a:xfrm>
        </p:spPr>
        <p:txBody>
          <a:bodyPr/>
          <a:lstStyle>
            <a:lvl1pPr>
              <a:defRPr sz="933">
                <a:latin typeface="Univers Condensed" panose="020B0506020202050204" pitchFamily="34" charset="0"/>
                <a:ea typeface="+mn-ea"/>
                <a:cs typeface="+mn-cs"/>
              </a:defRPr>
            </a:lvl1pPr>
          </a:lstStyle>
          <a:p>
            <a:pPr lvl="0"/>
            <a:r>
              <a:rPr lang="en-US" dirty="0"/>
              <a:t>Edit text</a:t>
            </a:r>
          </a:p>
        </p:txBody>
      </p:sp>
    </p:spTree>
    <p:extLst>
      <p:ext uri="{BB962C8B-B14F-4D97-AF65-F5344CB8AC3E}">
        <p14:creationId xmlns:p14="http://schemas.microsoft.com/office/powerpoint/2010/main" val="346331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Titolo 1">
            <a:extLst>
              <a:ext uri="{FF2B5EF4-FFF2-40B4-BE49-F238E27FC236}">
                <a16:creationId xmlns:a16="http://schemas.microsoft.com/office/drawing/2014/main" id="{D82889BE-D7BE-4285-81A6-B5C5CB9E71B3}"/>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dirty="0">
                <a:latin typeface="Univers Condensed" panose="020B0506020202050204" pitchFamily="34" charset="0"/>
                <a:ea typeface="+mn-ea"/>
                <a:cs typeface="+mn-cs"/>
              </a:rPr>
            </a:br>
            <a:r>
              <a:rPr lang="it-IT" sz="1600" dirty="0">
                <a:latin typeface="Univers Condensed" panose="020B0506020202050204" pitchFamily="34" charset="0"/>
                <a:ea typeface="+mn-ea"/>
                <a:cs typeface="+mn-cs"/>
              </a:rPr>
              <a:t>Investiamo nel domani</a:t>
            </a:r>
          </a:p>
        </p:txBody>
      </p:sp>
      <p:sp>
        <p:nvSpPr>
          <p:cNvPr id="11" name="CasellaDiTesto 5">
            <a:extLst>
              <a:ext uri="{FF2B5EF4-FFF2-40B4-BE49-F238E27FC236}">
                <a16:creationId xmlns:a16="http://schemas.microsoft.com/office/drawing/2014/main" id="{752A10B1-920C-44FC-B422-8D133820DEF7}"/>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it-IT" sz="5333" b="0" i="0" u="none" strike="noStrike" kern="0" cap="none" spc="0" normalizeH="0" baseline="0" noProof="0" dirty="0">
                <a:ln>
                  <a:noFill/>
                </a:ln>
                <a:solidFill>
                  <a:srgbClr val="415364"/>
                </a:solidFill>
                <a:effectLst/>
                <a:uLnTx/>
                <a:uFillTx/>
                <a:latin typeface="Univers Condensed" panose="020B0506020202050204" pitchFamily="34" charset="0"/>
                <a:ea typeface="+mn-ea"/>
                <a:cs typeface="+mn-cs"/>
              </a:rPr>
              <a:t>Grazie</a:t>
            </a:r>
          </a:p>
        </p:txBody>
      </p:sp>
      <p:pic>
        <p:nvPicPr>
          <p:cNvPr id="12" name="Immagine 8">
            <a:extLst>
              <a:ext uri="{FF2B5EF4-FFF2-40B4-BE49-F238E27FC236}">
                <a16:creationId xmlns:a16="http://schemas.microsoft.com/office/drawing/2014/main" id="{7767D7F3-2145-4012-A509-E3AF0DAE419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19965026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684D243-7589-4C83-91A5-33B71493701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2684D243-7589-4C83-91A5-33B71493701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0BE80820-0410-4E17-98B9-AA215B2C3EB5}"/>
              </a:ext>
            </a:extLst>
          </p:cNvPr>
          <p:cNvGrpSpPr/>
          <p:nvPr userDrawn="1"/>
        </p:nvGrpSpPr>
        <p:grpSpPr>
          <a:xfrm>
            <a:off x="-600" y="-1"/>
            <a:ext cx="12193800" cy="6858001"/>
            <a:chOff x="-450" y="-1"/>
            <a:chExt cx="9145350" cy="5143501"/>
          </a:xfrm>
        </p:grpSpPr>
        <p:sp>
          <p:nvSpPr>
            <p:cNvPr id="50" name="No fly zone"/>
            <p:cNvSpPr/>
            <p:nvPr/>
          </p:nvSpPr>
          <p:spPr>
            <a:xfrm>
              <a:off x="0" y="-1"/>
              <a:ext cx="9144900" cy="51435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solidFill>
                  <a:schemeClr val="tx1"/>
                </a:solidFill>
                <a:latin typeface="Univers Condensed" panose="020B0506020202050204" pitchFamily="34" charset="0"/>
                <a:ea typeface="+mn-ea"/>
                <a:cs typeface="+mn-cs"/>
              </a:endParaRPr>
            </a:p>
          </p:txBody>
        </p:sp>
        <p:grpSp>
          <p:nvGrpSpPr>
            <p:cNvPr id="51" name="Baselines / anchors"/>
            <p:cNvGrpSpPr/>
            <p:nvPr userDrawn="1"/>
          </p:nvGrpSpPr>
          <p:grpSpPr>
            <a:xfrm>
              <a:off x="-450" y="467100"/>
              <a:ext cx="9144900" cy="4073893"/>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472500" y="467663"/>
              <a:ext cx="8153026" cy="4095464"/>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grpSp>
        <p:sp>
          <p:nvSpPr>
            <p:cNvPr id="53" name="Slide edges"/>
            <p:cNvSpPr>
              <a:spLocks/>
            </p:cNvSpPr>
            <p:nvPr/>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Univers Condensed" panose="020B0506020202050204" pitchFamily="34" charset="0"/>
                <a:ea typeface="+mn-ea"/>
                <a:cs typeface="+mn-cs"/>
              </a:endParaRPr>
            </a:p>
          </p:txBody>
        </p:sp>
        <p:sp>
          <p:nvSpPr>
            <p:cNvPr id="54" name="Footnote measure"/>
            <p:cNvSpPr>
              <a:spLocks noChangeArrowheads="1"/>
            </p:cNvSpPr>
            <p:nvPr/>
          </p:nvSpPr>
          <p:spPr bwMode="auto">
            <a:xfrm>
              <a:off x="250375" y="4563137"/>
              <a:ext cx="8642350" cy="35680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57" name="Whitespace measure"/>
            <p:cNvSpPr>
              <a:spLocks noChangeArrowheads="1"/>
            </p:cNvSpPr>
            <p:nvPr/>
          </p:nvSpPr>
          <p:spPr bwMode="auto">
            <a:xfrm>
              <a:off x="250375" y="868677"/>
              <a:ext cx="8642350"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grpSp>
          <p:nvGrpSpPr>
            <p:cNvPr id="58" name="Five column measure"/>
            <p:cNvGrpSpPr/>
            <p:nvPr userDrawn="1"/>
          </p:nvGrpSpPr>
          <p:grpSpPr>
            <a:xfrm>
              <a:off x="250825" y="4471914"/>
              <a:ext cx="8642350" cy="59652"/>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grpSp>
        <p:sp>
          <p:nvSpPr>
            <p:cNvPr id="59" name="Live area"/>
            <p:cNvSpPr/>
            <p:nvPr/>
          </p:nvSpPr>
          <p:spPr>
            <a:xfrm>
              <a:off x="250825" y="1310640"/>
              <a:ext cx="8642350" cy="323881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Univers Condensed" panose="020B0506020202050204" pitchFamily="34" charset="0"/>
                <a:ea typeface="+mn-ea"/>
                <a:cs typeface="+mn-cs"/>
              </a:endParaRPr>
            </a:p>
          </p:txBody>
        </p:sp>
        <p:sp>
          <p:nvSpPr>
            <p:cNvPr id="60" name="Footnote example"/>
            <p:cNvSpPr txBox="1"/>
            <p:nvPr/>
          </p:nvSpPr>
          <p:spPr>
            <a:xfrm>
              <a:off x="472500" y="4587412"/>
              <a:ext cx="6773186" cy="332543"/>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dirty="0">
                  <a:ln>
                    <a:noFill/>
                  </a:ln>
                  <a:solidFill>
                    <a:schemeClr val="bg1">
                      <a:lumMod val="50000"/>
                    </a:schemeClr>
                  </a:solidFill>
                  <a:effectLst/>
                  <a:uLnTx/>
                  <a:uFillTx/>
                  <a:latin typeface="Univers Condensed" panose="020B0506020202050204" pitchFamily="34" charset="0"/>
                  <a:ea typeface="+mn-ea"/>
                  <a:cs typeface="+mn-cs"/>
                  <a:sym typeface="Trebuchet MS" panose="020B0603020202020204" pitchFamily="34" charset="0"/>
                </a:rPr>
                <a:t>1. </a:t>
              </a:r>
              <a:r>
                <a:rPr kumimoji="0" lang="en-US" sz="1067" b="0" i="0" u="none" strike="noStrike" kern="1200" cap="none" spc="0" normalizeH="0" baseline="0" noProof="0" dirty="0" err="1">
                  <a:ln>
                    <a:noFill/>
                  </a:ln>
                  <a:solidFill>
                    <a:schemeClr val="bg1">
                      <a:lumMod val="50000"/>
                    </a:schemeClr>
                  </a:solidFill>
                  <a:effectLst/>
                  <a:uLnTx/>
                  <a:uFillTx/>
                  <a:latin typeface="Univers Condensed" panose="020B0506020202050204" pitchFamily="34" charset="0"/>
                  <a:ea typeface="+mn-ea"/>
                  <a:cs typeface="+mn-cs"/>
                  <a:sym typeface="Trebuchet MS" panose="020B0603020202020204" pitchFamily="34" charset="0"/>
                </a:rPr>
                <a:t>xxxx</a:t>
              </a:r>
              <a:r>
                <a:rPr kumimoji="0" lang="en-US" sz="1067" b="0" i="0" u="none" strike="noStrike" kern="1200" cap="none" spc="0" normalizeH="0" baseline="0" noProof="0" dirty="0">
                  <a:ln>
                    <a:noFill/>
                  </a:ln>
                  <a:solidFill>
                    <a:schemeClr val="bg1">
                      <a:lumMod val="50000"/>
                    </a:schemeClr>
                  </a:solidFill>
                  <a:effectLst/>
                  <a:uLnTx/>
                  <a:uFillTx/>
                  <a:latin typeface="Univers Condensed" panose="020B0506020202050204" pitchFamily="34" charset="0"/>
                  <a:ea typeface="+mn-ea"/>
                  <a:cs typeface="+mn-cs"/>
                  <a:sym typeface="Trebuchet MS" panose="020B0603020202020204" pitchFamily="34" charset="0"/>
                </a:rPr>
                <a:t>  2. </a:t>
              </a:r>
              <a:r>
                <a:rPr kumimoji="0" lang="en-US" sz="1067" b="0" i="0" u="none" strike="noStrike" kern="1200" cap="none" spc="0" normalizeH="0" baseline="0" noProof="0" dirty="0" err="1">
                  <a:ln>
                    <a:noFill/>
                  </a:ln>
                  <a:solidFill>
                    <a:schemeClr val="bg1">
                      <a:lumMod val="50000"/>
                    </a:schemeClr>
                  </a:solidFill>
                  <a:effectLst/>
                  <a:uLnTx/>
                  <a:uFillTx/>
                  <a:latin typeface="Univers Condensed" panose="020B0506020202050204" pitchFamily="34" charset="0"/>
                  <a:ea typeface="+mn-ea"/>
                  <a:cs typeface="+mn-cs"/>
                  <a:sym typeface="Trebuchet MS" panose="020B0603020202020204" pitchFamily="34" charset="0"/>
                </a:rPr>
                <a:t>xxxx</a:t>
              </a:r>
              <a:r>
                <a:rPr kumimoji="0" lang="en-US" sz="1067" b="0" i="0" u="none" strike="noStrike" kern="1200" cap="none" spc="0" normalizeH="0" baseline="0" noProof="0" dirty="0">
                  <a:ln>
                    <a:noFill/>
                  </a:ln>
                  <a:solidFill>
                    <a:schemeClr val="bg1">
                      <a:lumMod val="50000"/>
                    </a:schemeClr>
                  </a:solidFill>
                  <a:effectLst/>
                  <a:uLnTx/>
                  <a:uFillTx/>
                  <a:latin typeface="Univers Condensed" panose="020B0506020202050204" pitchFamily="34" charset="0"/>
                  <a:ea typeface="+mn-ea"/>
                  <a:cs typeface="+mn-cs"/>
                  <a:sym typeface="Trebuchet MS" panose="020B0603020202020204" pitchFamily="34" charset="0"/>
                </a:rPr>
                <a:t>  3. List footnotes in numerical order. Footnote numbers are not bracketed. Use 8pt font</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dirty="0">
                  <a:ln>
                    <a:noFill/>
                  </a:ln>
                  <a:solidFill>
                    <a:schemeClr val="bg1">
                      <a:lumMod val="50000"/>
                    </a:schemeClr>
                  </a:solidFill>
                  <a:effectLst/>
                  <a:uLnTx/>
                  <a:uFillTx/>
                  <a:latin typeface="Univers Condensed" panose="020B0506020202050204" pitchFamily="34" charset="0"/>
                  <a:ea typeface="+mn-ea"/>
                  <a:cs typeface="+mn-cs"/>
                  <a:sym typeface="Trebuchet MS" panose="020B0603020202020204" pitchFamily="34" charset="0"/>
                </a:rPr>
                <a:t>Note: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dirty="0">
                  <a:ln>
                    <a:noFill/>
                  </a:ln>
                  <a:solidFill>
                    <a:schemeClr val="bg1">
                      <a:lumMod val="50000"/>
                    </a:schemeClr>
                  </a:solidFill>
                  <a:effectLst/>
                  <a:uLnTx/>
                  <a:uFillTx/>
                  <a:latin typeface="Univers Condensed" panose="020B0506020202050204" pitchFamily="34" charset="0"/>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8931484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Univers Condensed" panose="020B0506020202050204" pitchFamily="34" charset="0"/>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65B59A3-F9DA-46EC-B11A-530564B2A3FE}"/>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Univers Condensed" panose="020B0506020202050204" pitchFamily="34" charset="0"/>
                <a:ea typeface="+mn-ea"/>
                <a:cs typeface="+mn-cs"/>
              </a:defRPr>
            </a:lvl1pPr>
          </a:lstStyle>
          <a:p>
            <a:pPr lvl="0">
              <a:buNone/>
            </a:pPr>
            <a:r>
              <a:rPr lang="en-US" dirty="0"/>
              <a:t>Subtitle in sentence case</a:t>
            </a:r>
          </a:p>
        </p:txBody>
      </p:sp>
      <p:sp>
        <p:nvSpPr>
          <p:cNvPr id="17" name="Title 1">
            <a:extLst>
              <a:ext uri="{FF2B5EF4-FFF2-40B4-BE49-F238E27FC236}">
                <a16:creationId xmlns:a16="http://schemas.microsoft.com/office/drawing/2014/main" id="{87B5F764-F1AB-4789-8765-B0469A74FA58}"/>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Univers Condensed" panose="020B0506020202050204" pitchFamily="34" charset="0"/>
                <a:ea typeface="+mj-ea"/>
                <a:cs typeface="+mj-cs"/>
              </a:defRPr>
            </a:lvl1pPr>
          </a:lstStyle>
          <a:p>
            <a:pPr marL="0" lvl="0" indent="0">
              <a:lnSpc>
                <a:spcPct val="110000"/>
              </a:lnSpc>
              <a:spcBef>
                <a:spcPts val="600"/>
              </a:spcBef>
              <a:spcAft>
                <a:spcPts val="300"/>
              </a:spcAft>
              <a:buFont typeface="Arial" panose="020B0604020202020204" pitchFamily="34" charset="0"/>
            </a:pPr>
            <a:r>
              <a:rPr lang="en-US" dirty="0"/>
              <a:t>Title in Title Case</a:t>
            </a:r>
          </a:p>
        </p:txBody>
      </p:sp>
      <p:pic>
        <p:nvPicPr>
          <p:cNvPr id="19" name="Immagine 13">
            <a:extLst>
              <a:ext uri="{FF2B5EF4-FFF2-40B4-BE49-F238E27FC236}">
                <a16:creationId xmlns:a16="http://schemas.microsoft.com/office/drawing/2014/main" id="{A31CDF65-552B-4E88-AAA7-943B4F1F7F4D}"/>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10320023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92867E-11CE-41DC-9C8A-63569BC36853}"/>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BD92867E-11CE-41DC-9C8A-63569BC36853}"/>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4" name="Title 3">
            <a:extLst>
              <a:ext uri="{FF2B5EF4-FFF2-40B4-BE49-F238E27FC236}">
                <a16:creationId xmlns:a16="http://schemas.microsoft.com/office/drawing/2014/main" id="{D200B6A7-940F-4CE8-A42A-CF7925799851}"/>
              </a:ext>
            </a:extLst>
          </p:cNvPr>
          <p:cNvSpPr>
            <a:spLocks noGrp="1"/>
          </p:cNvSpPr>
          <p:nvPr>
            <p:ph type="title" hasCustomPrompt="1"/>
          </p:nvPr>
        </p:nvSpPr>
        <p:spPr/>
        <p:txBody>
          <a:bodyPr vert="horz"/>
          <a:lstStyle>
            <a:lvl1pPr>
              <a:defRPr>
                <a:latin typeface="Univers Condensed" panose="020B0506020202050204" pitchFamily="34" charset="0"/>
                <a:ea typeface="+mj-ea"/>
                <a:cs typeface="+mj-cs"/>
              </a:defRPr>
            </a:lvl1pPr>
          </a:lstStyle>
          <a:p>
            <a:r>
              <a:rPr lang="en-US" dirty="0"/>
              <a:t>Click to add title</a:t>
            </a:r>
          </a:p>
        </p:txBody>
      </p:sp>
    </p:spTree>
    <p:extLst>
      <p:ext uri="{BB962C8B-B14F-4D97-AF65-F5344CB8AC3E}">
        <p14:creationId xmlns:p14="http://schemas.microsoft.com/office/powerpoint/2010/main" val="34857280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1650584422"/>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FC23F8F-7927-4735-B36B-8B42A0745C8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a:extLst>
                          <a:ext uri="{FF2B5EF4-FFF2-40B4-BE49-F238E27FC236}">
                            <a16:creationId xmlns:a16="http://schemas.microsoft.com/office/drawing/2014/main" id="{9FC23F8F-7927-4735-B36B-8B42A0745C8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latin typeface="Univers Condensed" panose="020B0506020202050204" pitchFamily="34" charset="0"/>
                <a:ea typeface="+mj-ea"/>
                <a:cs typeface="+mj-cs"/>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334435" y="2085628"/>
            <a:ext cx="11523132" cy="3913632"/>
          </a:xfrm>
        </p:spPr>
        <p:txBody>
          <a:bodyPr/>
          <a:lstStyle>
            <a:lvl1pPr>
              <a:lnSpc>
                <a:spcPct val="100000"/>
              </a:lnSpc>
              <a:spcBef>
                <a:spcPts val="0"/>
              </a:spcBef>
              <a:spcAft>
                <a:spcPts val="0"/>
              </a:spcAft>
              <a:defRPr>
                <a:latin typeface="Univers Condensed" panose="020B0506020202050204" pitchFamily="34" charset="0"/>
                <a:ea typeface="+mn-ea"/>
                <a:cs typeface="+mn-cs"/>
              </a:defRPr>
            </a:lvl1pPr>
            <a:lvl2pPr>
              <a:lnSpc>
                <a:spcPct val="100000"/>
              </a:lnSpc>
              <a:spcBef>
                <a:spcPts val="0"/>
              </a:spcBef>
              <a:spcAft>
                <a:spcPts val="0"/>
              </a:spcAft>
              <a:defRPr>
                <a:latin typeface="Univers Condensed" panose="020B0506020202050204" pitchFamily="34" charset="0"/>
                <a:ea typeface="+mn-ea"/>
                <a:cs typeface="+mn-cs"/>
              </a:defRPr>
            </a:lvl2pPr>
            <a:lvl3pPr>
              <a:lnSpc>
                <a:spcPct val="100000"/>
              </a:lnSpc>
              <a:spcBef>
                <a:spcPts val="0"/>
              </a:spcBef>
              <a:spcAft>
                <a:spcPts val="0"/>
              </a:spcAft>
              <a:defRPr>
                <a:latin typeface="Univers Condensed" panose="020B0506020202050204" pitchFamily="34" charset="0"/>
                <a:ea typeface="+mn-ea"/>
                <a:cs typeface="+mn-cs"/>
              </a:defRPr>
            </a:lvl3pPr>
            <a:lvl4pPr>
              <a:lnSpc>
                <a:spcPct val="100000"/>
              </a:lnSpc>
              <a:spcBef>
                <a:spcPts val="0"/>
              </a:spcBef>
              <a:spcAft>
                <a:spcPts val="0"/>
              </a:spcAft>
              <a:defRPr>
                <a:latin typeface="Univers Condensed" panose="020B0506020202050204" pitchFamily="34" charset="0"/>
                <a:ea typeface="+mn-ea"/>
                <a:cs typeface="+mn-cs"/>
              </a:defRPr>
            </a:lvl4pPr>
            <a:lvl5pPr>
              <a:lnSpc>
                <a:spcPct val="100000"/>
              </a:lnSpc>
              <a:spcBef>
                <a:spcPts val="0"/>
              </a:spcBef>
              <a:spcAft>
                <a:spcPts val="0"/>
              </a:spcAft>
              <a:defRPr>
                <a:latin typeface="Univers Condensed" panose="020B0506020202050204" pitchFamily="34" charset="0"/>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3838314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63DEC4-DCE8-4A0C-84AA-D7D40C41BCB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EE63DEC4-DCE8-4A0C-84AA-D7D40C41BCB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334435" y="2158990"/>
            <a:ext cx="4039567" cy="541687"/>
          </a:xfrm>
          <a:prstGeom prst="rect">
            <a:avLst/>
          </a:prstGeom>
        </p:spPr>
        <p:txBody>
          <a:bodyPr>
            <a:noAutofit/>
          </a:bodyPr>
          <a:lstStyle>
            <a:lvl1pPr marL="0" indent="0" algn="l">
              <a:buNone/>
              <a:defRPr sz="1600">
                <a:solidFill>
                  <a:schemeClr val="tx2"/>
                </a:solidFill>
                <a:latin typeface="Univers Condensed" panose="020B0506020202050204" pitchFamily="34" charset="0"/>
                <a:ea typeface="+mn-ea"/>
                <a:cs typeface="+mn-cs"/>
                <a:sym typeface="Trebuchet MS" panose="020B0603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add subtitle</a:t>
            </a:r>
          </a:p>
        </p:txBody>
      </p:sp>
      <p:sp>
        <p:nvSpPr>
          <p:cNvPr id="9" name="Title 4"/>
          <p:cNvSpPr>
            <a:spLocks noGrp="1"/>
          </p:cNvSpPr>
          <p:nvPr>
            <p:ph type="title" hasCustomPrompt="1"/>
          </p:nvPr>
        </p:nvSpPr>
        <p:spPr>
          <a:xfrm>
            <a:off x="334435" y="1227048"/>
            <a:ext cx="4039567" cy="664797"/>
          </a:xfrm>
        </p:spPr>
        <p:txBody>
          <a:bodyPr vert="horz" anchor="t">
            <a:noAutofit/>
          </a:bodyPr>
          <a:lstStyle>
            <a:lvl1pPr>
              <a:defRPr sz="2400">
                <a:solidFill>
                  <a:schemeClr val="tx2"/>
                </a:solidFill>
                <a:latin typeface="Univers Condensed" panose="020B0506020202050204" pitchFamily="34" charset="0"/>
                <a:ea typeface="+mj-ea"/>
                <a:cs typeface="+mj-cs"/>
                <a:sym typeface="Trebuchet MS" panose="020B0603020202020204" pitchFamily="34" charset="0"/>
              </a:defRPr>
            </a:lvl1pPr>
          </a:lstStyle>
          <a:p>
            <a:r>
              <a:rPr lang="en-US" dirty="0"/>
              <a:t>Click to add title</a:t>
            </a:r>
          </a:p>
        </p:txBody>
      </p:sp>
      <p:sp>
        <p:nvSpPr>
          <p:cNvPr id="12" name="Slide Number Placeholder 5">
            <a:extLst>
              <a:ext uri="{FF2B5EF4-FFF2-40B4-BE49-F238E27FC236}">
                <a16:creationId xmlns:a16="http://schemas.microsoft.com/office/drawing/2014/main" id="{0F29EC87-E805-4F4E-AAC7-E4B5FA2DA29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23389833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A986C99-68E4-42B2-9EC6-7D13B0666D6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4A986C99-68E4-42B2-9EC6-7D13B0666D6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bwMode="blackWhite">
          <a:xfrm>
            <a:off x="334435" y="2668041"/>
            <a:ext cx="11523132" cy="3201027"/>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2"/>
                </a:solidFill>
                <a:latin typeface="Univers Condensed" panose="020B0506020202050204" pitchFamily="34" charset="0"/>
                <a:ea typeface="+mj-ea"/>
                <a:cs typeface="+mj-cs"/>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334436" y="1424084"/>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Tree>
    <p:extLst>
      <p:ext uri="{BB962C8B-B14F-4D97-AF65-F5344CB8AC3E}">
        <p14:creationId xmlns:p14="http://schemas.microsoft.com/office/powerpoint/2010/main" val="2613316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900891-5087-435D-9121-3DDD1A0C554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06900891-5087-435D-9121-3DDD1A0C554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334435" y="3826800"/>
            <a:ext cx="11232367" cy="2041200"/>
          </a:xfrm>
        </p:spPr>
        <p:txBody>
          <a:bodyPr vert="horz" anchor="t">
            <a:noAutofit/>
          </a:bodyPr>
          <a:lstStyle>
            <a:lvl1pPr>
              <a:defRPr sz="5333">
                <a:solidFill>
                  <a:schemeClr val="tx2"/>
                </a:solidFill>
                <a:latin typeface="Univers Condensed" panose="020B0506020202050204" pitchFamily="34" charset="0"/>
                <a:ea typeface="+mj-ea"/>
                <a:cs typeface="+mj-cs"/>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334436" y="3680016"/>
            <a:ext cx="11854153"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5175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734675F-7B18-490E-BAC8-14CDA267367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0734675F-7B18-490E-BAC8-14CDA267367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4064997" y="0"/>
            <a:ext cx="416951" cy="6858000"/>
          </a:xfrm>
          <a:prstGeom prst="rect">
            <a:avLst/>
          </a:prstGeom>
        </p:spPr>
      </p:pic>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24" name="Rectangle 23"/>
          <p:cNvSpPr/>
          <p:nvPr userDrawn="1"/>
        </p:nvSpPr>
        <p:spPr bwMode="white">
          <a:xfrm>
            <a:off x="2"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25"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2400">
                <a:solidFill>
                  <a:schemeClr val="tx2"/>
                </a:solidFill>
                <a:latin typeface="Univers Condensed" panose="020B0506020202050204" pitchFamily="34" charset="0"/>
                <a:ea typeface="+mj-ea"/>
                <a:cs typeface="+mj-cs"/>
                <a:sym typeface="Trebuchet MS" panose="020B0603020202020204" pitchFamily="34" charset="0"/>
              </a:defRPr>
            </a:lvl1pPr>
          </a:lstStyle>
          <a:p>
            <a:r>
              <a:rPr lang="en-US" dirty="0"/>
              <a:t>Click to add title</a:t>
            </a:r>
          </a:p>
        </p:txBody>
      </p:sp>
      <p:pic>
        <p:nvPicPr>
          <p:cNvPr id="12" name="Immagine 8">
            <a:extLst>
              <a:ext uri="{FF2B5EF4-FFF2-40B4-BE49-F238E27FC236}">
                <a16:creationId xmlns:a16="http://schemas.microsoft.com/office/drawing/2014/main" id="{F7818EC9-E4D5-41D8-94BF-6ECE67987EC3}"/>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930E3E22-A5AB-4CA2-ACCE-D97ED983335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2096801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0653881-E565-497A-A870-4EFDA4C9019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00653881-E565-497A-A870-4EFDA4C9019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7165609" y="0"/>
            <a:ext cx="416951" cy="6858000"/>
          </a:xfrm>
          <a:prstGeom prst="rect">
            <a:avLst/>
          </a:prstGeom>
        </p:spPr>
      </p:pic>
      <p:sp>
        <p:nvSpPr>
          <p:cNvPr id="14" name="Rectangle 13"/>
          <p:cNvSpPr/>
          <p:nvPr userDrawn="1"/>
        </p:nvSpPr>
        <p:spPr bwMode="white">
          <a:xfrm>
            <a:off x="2"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5" name="Title 4">
            <a:extLst>
              <a:ext uri="{FF2B5EF4-FFF2-40B4-BE49-F238E27FC236}">
                <a16:creationId xmlns:a16="http://schemas.microsoft.com/office/drawing/2014/main" id="{B32187A9-0E8E-44B3-9F32-3678A4290ADA}"/>
              </a:ext>
            </a:extLst>
          </p:cNvPr>
          <p:cNvSpPr>
            <a:spLocks noGrp="1"/>
          </p:cNvSpPr>
          <p:nvPr>
            <p:ph type="title" hasCustomPrompt="1"/>
          </p:nvPr>
        </p:nvSpPr>
        <p:spPr>
          <a:xfrm>
            <a:off x="334433" y="357719"/>
            <a:ext cx="6572096" cy="332399"/>
          </a:xfrm>
        </p:spPr>
        <p:txBody>
          <a:bodyPr vert="horz"/>
          <a:lstStyle>
            <a:lvl1pPr>
              <a:defRPr>
                <a:latin typeface="Univers Condensed" panose="020B0506020202050204" pitchFamily="34" charset="0"/>
                <a:ea typeface="+mj-ea"/>
                <a:cs typeface="+mj-cs"/>
              </a:defRPr>
            </a:lvl1pPr>
          </a:lstStyle>
          <a:p>
            <a:r>
              <a:rPr lang="en-US" dirty="0"/>
              <a:t>Click to add title</a:t>
            </a:r>
          </a:p>
        </p:txBody>
      </p:sp>
      <p:pic>
        <p:nvPicPr>
          <p:cNvPr id="15" name="Immagine 8">
            <a:extLst>
              <a:ext uri="{FF2B5EF4-FFF2-40B4-BE49-F238E27FC236}">
                <a16:creationId xmlns:a16="http://schemas.microsoft.com/office/drawing/2014/main" id="{0BE1E448-DFA2-4CBA-9AE2-5F6B491ED82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6" name="Slide Number Placeholder 5">
            <a:extLst>
              <a:ext uri="{FF2B5EF4-FFF2-40B4-BE49-F238E27FC236}">
                <a16:creationId xmlns:a16="http://schemas.microsoft.com/office/drawing/2014/main" id="{9701DB39-A167-44C3-BA2E-53D9B73E65DF}"/>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3960450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650258F-186F-412E-8D60-8A94CD78F0C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B650258F-186F-412E-8D60-8A94CD78F0C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9029249"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5" name="Title 4">
            <a:extLst>
              <a:ext uri="{FF2B5EF4-FFF2-40B4-BE49-F238E27FC236}">
                <a16:creationId xmlns:a16="http://schemas.microsoft.com/office/drawing/2014/main" id="{CB6210E4-37AF-45C4-B655-1C6354E61403}"/>
              </a:ext>
            </a:extLst>
          </p:cNvPr>
          <p:cNvSpPr>
            <a:spLocks noGrp="1"/>
          </p:cNvSpPr>
          <p:nvPr>
            <p:ph type="title" hasCustomPrompt="1"/>
          </p:nvPr>
        </p:nvSpPr>
        <p:spPr>
          <a:xfrm>
            <a:off x="334435" y="357719"/>
            <a:ext cx="8397151" cy="332399"/>
          </a:xfrm>
        </p:spPr>
        <p:txBody>
          <a:bodyPr vert="horz"/>
          <a:lstStyle>
            <a:lvl1pPr>
              <a:defRPr>
                <a:latin typeface="Univers Condensed" panose="020B0506020202050204" pitchFamily="34" charset="0"/>
                <a:ea typeface="+mj-ea"/>
                <a:cs typeface="+mj-cs"/>
              </a:defRPr>
            </a:lvl1pPr>
          </a:lstStyle>
          <a:p>
            <a:r>
              <a:rPr lang="en-US" dirty="0"/>
              <a:t>Click to add title</a:t>
            </a:r>
          </a:p>
        </p:txBody>
      </p:sp>
      <p:pic>
        <p:nvPicPr>
          <p:cNvPr id="17" name="Immagine 8">
            <a:extLst>
              <a:ext uri="{FF2B5EF4-FFF2-40B4-BE49-F238E27FC236}">
                <a16:creationId xmlns:a16="http://schemas.microsoft.com/office/drawing/2014/main" id="{AD51F823-C55C-4364-A68B-5E7193EF211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8" name="Slide Number Placeholder 5">
            <a:extLst>
              <a:ext uri="{FF2B5EF4-FFF2-40B4-BE49-F238E27FC236}">
                <a16:creationId xmlns:a16="http://schemas.microsoft.com/office/drawing/2014/main" id="{38FFB3AA-74F7-4EEA-80B3-5E98D317389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26764389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F91E195-2B48-4DB8-903B-410FF6EB050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4F91E195-2B48-4DB8-903B-410FF6EB050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24"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2400">
                <a:solidFill>
                  <a:schemeClr val="bg1"/>
                </a:solidFill>
                <a:latin typeface="Univers Condensed" panose="020B0506020202050204" pitchFamily="34" charset="0"/>
                <a:ea typeface="+mj-ea"/>
                <a:cs typeface="+mj-cs"/>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12" name="Immagine 8">
            <a:extLst>
              <a:ext uri="{FF2B5EF4-FFF2-40B4-BE49-F238E27FC236}">
                <a16:creationId xmlns:a16="http://schemas.microsoft.com/office/drawing/2014/main" id="{B85C187B-FC31-4D73-83A0-F95C3021736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3" name="Slide Number Placeholder 5">
            <a:extLst>
              <a:ext uri="{FF2B5EF4-FFF2-40B4-BE49-F238E27FC236}">
                <a16:creationId xmlns:a16="http://schemas.microsoft.com/office/drawing/2014/main" id="{1369D58D-4107-4F60-A493-AA3BC0960AC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1133440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7B96A3-5F50-4AD9-A387-B05D8125E92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6E7B96A3-5F50-4AD9-A387-B05D8125E92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5689585"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67" baseline="0">
                <a:latin typeface="Univers Condensed" panose="020B0506020202050204" pitchFamily="34" charset="0"/>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334435" y="1785600"/>
            <a:ext cx="4683967" cy="3286800"/>
          </a:xfrm>
          <a:prstGeom prst="rect">
            <a:avLst/>
          </a:prstGeom>
          <a:noFill/>
        </p:spPr>
        <p:txBody>
          <a:bodyPr vert="horz" wrap="square" lIns="0" tIns="0" rIns="320040" bIns="0" anchor="ctr">
            <a:noAutofit/>
          </a:bodyPr>
          <a:lstStyle>
            <a:lvl1pPr>
              <a:defRPr sz="4267">
                <a:solidFill>
                  <a:schemeClr val="bg1"/>
                </a:solidFill>
                <a:latin typeface="Univers Condensed" panose="020B0506020202050204" pitchFamily="34" charset="0"/>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18" name="Immagine 8">
            <a:extLst>
              <a:ext uri="{FF2B5EF4-FFF2-40B4-BE49-F238E27FC236}">
                <a16:creationId xmlns:a16="http://schemas.microsoft.com/office/drawing/2014/main" id="{D44CDF73-1B05-4516-989A-2728E9CA169B}"/>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9" name="Slide Number Placeholder 5">
            <a:extLst>
              <a:ext uri="{FF2B5EF4-FFF2-40B4-BE49-F238E27FC236}">
                <a16:creationId xmlns:a16="http://schemas.microsoft.com/office/drawing/2014/main" id="{954A351D-9E74-4FC7-84F8-B368D1E894B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2199945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A58822-10A2-445F-B176-8CBBE4167D5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86A58822-10A2-445F-B176-8CBBE4167D5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7409851" y="0"/>
            <a:ext cx="416951" cy="6858000"/>
          </a:xfrm>
          <a:prstGeom prst="rect">
            <a:avLst/>
          </a:prstGeom>
        </p:spPr>
      </p:pic>
      <p:sp>
        <p:nvSpPr>
          <p:cNvPr id="11" name="Rectangle 10"/>
          <p:cNvSpPr/>
          <p:nvPr userDrawn="1"/>
        </p:nvSpPr>
        <p:spPr bwMode="gray">
          <a:xfrm>
            <a:off x="7819546"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Univers Condensed" panose="020B0506020202050204" pitchFamily="34" charset="0"/>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15" name="Title 1"/>
          <p:cNvSpPr>
            <a:spLocks noGrp="1"/>
          </p:cNvSpPr>
          <p:nvPr>
            <p:ph type="title" hasCustomPrompt="1"/>
          </p:nvPr>
        </p:nvSpPr>
        <p:spPr bwMode="black">
          <a:xfrm>
            <a:off x="334435" y="1785600"/>
            <a:ext cx="6544055" cy="3286800"/>
          </a:xfrm>
          <a:prstGeom prst="rect">
            <a:avLst/>
          </a:prstGeom>
        </p:spPr>
        <p:txBody>
          <a:bodyPr vert="horz" anchor="ctr">
            <a:noAutofit/>
          </a:bodyPr>
          <a:lstStyle>
            <a:lvl1pPr>
              <a:defRPr sz="4267">
                <a:solidFill>
                  <a:schemeClr val="bg1"/>
                </a:solidFill>
                <a:latin typeface="Univers Condensed" panose="020B0506020202050204" pitchFamily="34" charset="0"/>
                <a:ea typeface="+mj-ea"/>
                <a:cs typeface="+mj-cs"/>
                <a:sym typeface="Trebuchet MS" panose="020B0603020202020204" pitchFamily="34" charset="0"/>
              </a:defRPr>
            </a:lvl1pPr>
          </a:lstStyle>
          <a:p>
            <a:r>
              <a:rPr lang="en-US" dirty="0"/>
              <a:t>Click to add title</a:t>
            </a:r>
          </a:p>
        </p:txBody>
      </p:sp>
      <p:pic>
        <p:nvPicPr>
          <p:cNvPr id="17" name="Immagine 8">
            <a:extLst>
              <a:ext uri="{FF2B5EF4-FFF2-40B4-BE49-F238E27FC236}">
                <a16:creationId xmlns:a16="http://schemas.microsoft.com/office/drawing/2014/main" id="{E79CEA4D-804D-4688-AAB2-D9174FDB943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371D33C7-3369-438F-83BC-D39FE8C7AB66}"/>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932453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lvl1pPr>
              <a:defRPr/>
            </a:lvl1p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Univers Condensed" panose="020B050602020205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984130680"/>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20" name="Title 2"/>
          <p:cNvSpPr>
            <a:spLocks noGrp="1"/>
          </p:cNvSpPr>
          <p:nvPr>
            <p:ph type="title" hasCustomPrompt="1"/>
          </p:nvPr>
        </p:nvSpPr>
        <p:spPr>
          <a:xfrm>
            <a:off x="334435" y="2764206"/>
            <a:ext cx="2774205" cy="1314311"/>
          </a:xfrm>
          <a:prstGeom prst="rect">
            <a:avLst/>
          </a:prstGeom>
        </p:spPr>
        <p:txBody>
          <a:bodyPr vert="horz" anchor="ctr">
            <a:noAutofit/>
          </a:bodyPr>
          <a:lstStyle>
            <a:lvl1pPr>
              <a:defRPr sz="2400">
                <a:solidFill>
                  <a:schemeClr val="tx2"/>
                </a:solidFill>
                <a:latin typeface="Univers Condensed" panose="020B0506020202050204" pitchFamily="34" charset="0"/>
                <a:ea typeface="+mj-ea"/>
                <a:cs typeface="+mj-cs"/>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5" name="Immagine 8">
            <a:extLst>
              <a:ext uri="{FF2B5EF4-FFF2-40B4-BE49-F238E27FC236}">
                <a16:creationId xmlns:a16="http://schemas.microsoft.com/office/drawing/2014/main" id="{B34EE538-7C5C-4CC7-9AE7-7665B3AC4B7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6" name="Slide Number Placeholder 5">
            <a:extLst>
              <a:ext uri="{FF2B5EF4-FFF2-40B4-BE49-F238E27FC236}">
                <a16:creationId xmlns:a16="http://schemas.microsoft.com/office/drawing/2014/main" id="{A7B3342D-A49F-4AB2-920E-7705A1886EA0}"/>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4047477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910DF5-CFD7-4F59-88D1-B14FC60487C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57910DF5-CFD7-4F59-88D1-B14FC60487C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5" name="Title 4"/>
          <p:cNvSpPr>
            <a:spLocks noGrp="1"/>
          </p:cNvSpPr>
          <p:nvPr>
            <p:ph type="title" hasCustomPrompt="1"/>
          </p:nvPr>
        </p:nvSpPr>
        <p:spPr>
          <a:xfrm>
            <a:off x="334435" y="2764206"/>
            <a:ext cx="2774205" cy="1314311"/>
          </a:xfrm>
        </p:spPr>
        <p:txBody>
          <a:bodyPr vert="horz" anchor="ctr" anchorCtr="0">
            <a:noAutofit/>
          </a:bodyPr>
          <a:lstStyle>
            <a:lvl1pPr>
              <a:defRPr>
                <a:solidFill>
                  <a:srgbClr val="FFFFFF"/>
                </a:solidFill>
                <a:latin typeface="Univers Condensed" panose="020B0506020202050204" pitchFamily="34" charset="0"/>
                <a:ea typeface="+mj-ea"/>
                <a:cs typeface="+mj-cs"/>
              </a:defRPr>
            </a:lvl1pPr>
          </a:lstStyle>
          <a:p>
            <a:r>
              <a:rPr lang="en-US" dirty="0"/>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Immagine 8">
            <a:extLst>
              <a:ext uri="{FF2B5EF4-FFF2-40B4-BE49-F238E27FC236}">
                <a16:creationId xmlns:a16="http://schemas.microsoft.com/office/drawing/2014/main" id="{D2023D28-7656-4052-B22D-E0B7C4679B5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3" name="Slide Number Placeholder 5">
            <a:extLst>
              <a:ext uri="{FF2B5EF4-FFF2-40B4-BE49-F238E27FC236}">
                <a16:creationId xmlns:a16="http://schemas.microsoft.com/office/drawing/2014/main" id="{C5AC6373-8A7A-4859-9946-08EC5A99DDA2}"/>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33989096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04B5CF-F7EA-4C9A-A225-C337023D4AC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9C04B5CF-F7EA-4C9A-A225-C337023D4AC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chemeClr val="tx2"/>
                </a:solidFill>
                <a:latin typeface="Univers Condensed" panose="020B0506020202050204" pitchFamily="34" charset="0"/>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4" name="Immagine 8">
            <a:extLst>
              <a:ext uri="{FF2B5EF4-FFF2-40B4-BE49-F238E27FC236}">
                <a16:creationId xmlns:a16="http://schemas.microsoft.com/office/drawing/2014/main" id="{658EBDDD-5906-4C12-9779-723A0094D2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C701A68E-75DD-4EF7-B98B-1BFEA9CFA2F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40073765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E1E8A8B-2752-4247-92E4-3B35C29E663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3E1E8A8B-2752-4247-92E4-3B35C29E663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rgbClr val="FFFFFF"/>
                </a:solidFill>
                <a:latin typeface="Univers Condensed" panose="020B0506020202050204" pitchFamily="34" charset="0"/>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6" name="Immagine 8">
            <a:extLst>
              <a:ext uri="{FF2B5EF4-FFF2-40B4-BE49-F238E27FC236}">
                <a16:creationId xmlns:a16="http://schemas.microsoft.com/office/drawing/2014/main" id="{7F55403B-BD66-4C94-881D-4E1137B1940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7" name="Slide Number Placeholder 5">
            <a:extLst>
              <a:ext uri="{FF2B5EF4-FFF2-40B4-BE49-F238E27FC236}">
                <a16:creationId xmlns:a16="http://schemas.microsoft.com/office/drawing/2014/main" id="{D3C8D191-BB05-4F33-8432-B6CD3C50A43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2312618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806380-66F6-4D09-B671-738F1BE4E79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DF806380-66F6-4D09-B671-738F1BE4E79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3F4896B2-C260-4D96-93B4-206E71BA6FC3}"/>
              </a:ext>
            </a:extLst>
          </p:cNvPr>
          <p:cNvSpPr>
            <a:spLocks noGrp="1"/>
          </p:cNvSpPr>
          <p:nvPr>
            <p:ph type="title" hasCustomPrompt="1"/>
          </p:nvPr>
        </p:nvSpPr>
        <p:spPr>
          <a:xfrm>
            <a:off x="334435" y="357719"/>
            <a:ext cx="5043389" cy="332399"/>
          </a:xfrm>
        </p:spPr>
        <p:txBody>
          <a:bodyPr vert="horz"/>
          <a:lstStyle>
            <a:lvl1pPr>
              <a:defRPr>
                <a:latin typeface="Univers Condensed" panose="020B0506020202050204" pitchFamily="34" charset="0"/>
                <a:ea typeface="+mj-ea"/>
                <a:cs typeface="+mj-cs"/>
              </a:defRPr>
            </a:lvl1pPr>
          </a:lstStyle>
          <a:p>
            <a:r>
              <a:rPr lang="en-US" dirty="0"/>
              <a:t>Click to add title</a:t>
            </a:r>
          </a:p>
        </p:txBody>
      </p:sp>
      <p:pic>
        <p:nvPicPr>
          <p:cNvPr id="17" name="Immagine 8">
            <a:extLst>
              <a:ext uri="{FF2B5EF4-FFF2-40B4-BE49-F238E27FC236}">
                <a16:creationId xmlns:a16="http://schemas.microsoft.com/office/drawing/2014/main" id="{EDDDF762-B894-4261-B169-B395E998A10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9" name="Slide Number Placeholder 5">
            <a:extLst>
              <a:ext uri="{FF2B5EF4-FFF2-40B4-BE49-F238E27FC236}">
                <a16:creationId xmlns:a16="http://schemas.microsoft.com/office/drawing/2014/main" id="{17E03362-340E-4454-9620-06315F6F50E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2567022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00688E-0344-45D5-AC58-9F41AC1FE02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D200688E-0344-45D5-AC58-9F41AC1FE02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5" name="Title 4">
            <a:extLst>
              <a:ext uri="{FF2B5EF4-FFF2-40B4-BE49-F238E27FC236}">
                <a16:creationId xmlns:a16="http://schemas.microsoft.com/office/drawing/2014/main" id="{32AF4771-A63D-4C87-8E31-472FD6589D12}"/>
              </a:ext>
            </a:extLst>
          </p:cNvPr>
          <p:cNvSpPr>
            <a:spLocks noGrp="1"/>
          </p:cNvSpPr>
          <p:nvPr>
            <p:ph type="title" hasCustomPrompt="1"/>
          </p:nvPr>
        </p:nvSpPr>
        <p:spPr>
          <a:xfrm>
            <a:off x="334435" y="357719"/>
            <a:ext cx="5043389" cy="332399"/>
          </a:xfrm>
        </p:spPr>
        <p:txBody>
          <a:bodyPr vert="horz"/>
          <a:lstStyle>
            <a:lvl1pPr>
              <a:defRPr>
                <a:solidFill>
                  <a:schemeClr val="bg1"/>
                </a:solidFill>
                <a:latin typeface="Univers Condensed" panose="020B0506020202050204" pitchFamily="34" charset="0"/>
                <a:ea typeface="+mj-ea"/>
                <a:cs typeface="+mj-cs"/>
              </a:defRPr>
            </a:lvl1pPr>
          </a:lstStyle>
          <a:p>
            <a:r>
              <a:rPr lang="en-US" dirty="0"/>
              <a:t>Click to add title</a:t>
            </a:r>
          </a:p>
        </p:txBody>
      </p:sp>
      <p:pic>
        <p:nvPicPr>
          <p:cNvPr id="17" name="Immagine 8">
            <a:extLst>
              <a:ext uri="{FF2B5EF4-FFF2-40B4-BE49-F238E27FC236}">
                <a16:creationId xmlns:a16="http://schemas.microsoft.com/office/drawing/2014/main" id="{B474C925-EB11-4E35-A4A0-CD06F0C8F8F3}"/>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1E8B605A-4932-45B0-8928-4438F6CBA8E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39828401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3C3F3A5-90FA-4810-9978-6A8FA0216CD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73C3F3A5-90FA-4810-9978-6A8FA0216CD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FCE29963-B64F-4FD6-BE00-18594B575C6F}"/>
              </a:ext>
            </a:extLst>
          </p:cNvPr>
          <p:cNvSpPr>
            <a:spLocks noGrp="1"/>
          </p:cNvSpPr>
          <p:nvPr>
            <p:ph type="title" hasCustomPrompt="1"/>
          </p:nvPr>
        </p:nvSpPr>
        <p:spPr>
          <a:xfrm>
            <a:off x="334435" y="357719"/>
            <a:ext cx="6550063" cy="332399"/>
          </a:xfrm>
        </p:spPr>
        <p:txBody>
          <a:bodyPr vert="horz"/>
          <a:lstStyle>
            <a:lvl1pPr>
              <a:defRPr>
                <a:latin typeface="Univers Condensed" panose="020B0506020202050204" pitchFamily="34" charset="0"/>
                <a:ea typeface="+mj-ea"/>
                <a:cs typeface="+mj-cs"/>
              </a:defRPr>
            </a:lvl1pPr>
          </a:lstStyle>
          <a:p>
            <a:r>
              <a:rPr lang="en-US" dirty="0"/>
              <a:t>Click to add title</a:t>
            </a:r>
          </a:p>
        </p:txBody>
      </p:sp>
      <p:pic>
        <p:nvPicPr>
          <p:cNvPr id="16" name="Immagine 8">
            <a:extLst>
              <a:ext uri="{FF2B5EF4-FFF2-40B4-BE49-F238E27FC236}">
                <a16:creationId xmlns:a16="http://schemas.microsoft.com/office/drawing/2014/main" id="{4BEB3997-A0A3-43AA-B226-621E5387F92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7" name="Slide Number Placeholder 5">
            <a:extLst>
              <a:ext uri="{FF2B5EF4-FFF2-40B4-BE49-F238E27FC236}">
                <a16:creationId xmlns:a16="http://schemas.microsoft.com/office/drawing/2014/main" id="{47D7799A-BFE6-4711-AB5C-BB9D68FBEFC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3709657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1838FF-3A3D-4A89-8C2D-59AA6DFF87A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9C1838FF-3A3D-4A89-8C2D-59AA6DFF87A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5" name="Title 4">
            <a:extLst>
              <a:ext uri="{FF2B5EF4-FFF2-40B4-BE49-F238E27FC236}">
                <a16:creationId xmlns:a16="http://schemas.microsoft.com/office/drawing/2014/main" id="{2A27EC17-A1BA-4425-97C3-A78E368980B2}"/>
              </a:ext>
            </a:extLst>
          </p:cNvPr>
          <p:cNvSpPr>
            <a:spLocks noGrp="1"/>
          </p:cNvSpPr>
          <p:nvPr>
            <p:ph type="title" hasCustomPrompt="1"/>
          </p:nvPr>
        </p:nvSpPr>
        <p:spPr>
          <a:xfrm>
            <a:off x="334435" y="357719"/>
            <a:ext cx="6550063" cy="332399"/>
          </a:xfrm>
        </p:spPr>
        <p:txBody>
          <a:bodyPr vert="horz"/>
          <a:lstStyle>
            <a:lvl1pPr>
              <a:defRPr>
                <a:solidFill>
                  <a:schemeClr val="bg1"/>
                </a:solidFill>
                <a:latin typeface="Univers Condensed" panose="020B0506020202050204" pitchFamily="34" charset="0"/>
                <a:ea typeface="+mj-ea"/>
                <a:cs typeface="+mj-cs"/>
              </a:defRPr>
            </a:lvl1pPr>
          </a:lstStyle>
          <a:p>
            <a:r>
              <a:rPr lang="en-US" dirty="0"/>
              <a:t>Click to add title</a:t>
            </a:r>
          </a:p>
        </p:txBody>
      </p:sp>
      <p:pic>
        <p:nvPicPr>
          <p:cNvPr id="20" name="Immagine 8">
            <a:extLst>
              <a:ext uri="{FF2B5EF4-FFF2-40B4-BE49-F238E27FC236}">
                <a16:creationId xmlns:a16="http://schemas.microsoft.com/office/drawing/2014/main" id="{485ED52A-E3A8-4994-9A3A-84E64934A21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1" name="Slide Number Placeholder 5">
            <a:extLst>
              <a:ext uri="{FF2B5EF4-FFF2-40B4-BE49-F238E27FC236}">
                <a16:creationId xmlns:a16="http://schemas.microsoft.com/office/drawing/2014/main" id="{D97B1224-3C52-429E-B70B-9566783C1DE4}"/>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82528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A164588-A4A9-4BAF-9F78-2BD6ECDB39C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2A164588-A4A9-4BAF-9F78-2BD6ECDB39C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11" name="Title 1"/>
          <p:cNvSpPr>
            <a:spLocks noGrp="1"/>
          </p:cNvSpPr>
          <p:nvPr>
            <p:ph type="title" hasCustomPrompt="1"/>
          </p:nvPr>
        </p:nvSpPr>
        <p:spPr>
          <a:xfrm>
            <a:off x="334435" y="3826335"/>
            <a:ext cx="11523132" cy="1606551"/>
          </a:xfr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Univers Condensed" panose="020B0506020202050204" pitchFamily="34" charset="0"/>
                <a:ea typeface="+mj-ea"/>
                <a:cs typeface="+mj-cs"/>
                <a:sym typeface="Trebuchet MS" panose="020B0603020202020204" pitchFamily="34" charset="0"/>
              </a:defRPr>
            </a:lvl1pPr>
          </a:lstStyle>
          <a:p>
            <a:r>
              <a:rPr lang="en-US" dirty="0"/>
              <a:t>Click to add big statement text</a:t>
            </a:r>
          </a:p>
        </p:txBody>
      </p:sp>
      <p:pic>
        <p:nvPicPr>
          <p:cNvPr id="12" name="Immagine 8">
            <a:extLst>
              <a:ext uri="{FF2B5EF4-FFF2-40B4-BE49-F238E27FC236}">
                <a16:creationId xmlns:a16="http://schemas.microsoft.com/office/drawing/2014/main" id="{66C6782F-0C4A-4CA4-A22F-D59EB158CB0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4E190749-C528-4E9D-800A-BEFC484013B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42888477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27B6E2-17C8-4372-AABD-08D76BCF321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F927B6E2-17C8-4372-AABD-08D76BCF321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334433"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5" y="3826335"/>
            <a:ext cx="11523132" cy="1606551"/>
          </a:xfrm>
          <a:prstGeom prst="rect">
            <a:avLst/>
          </a:prstGeo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1"/>
                </a:solidFill>
                <a:latin typeface="Univers Condensed" panose="020B0506020202050204" pitchFamily="34" charset="0"/>
                <a:ea typeface="+mj-ea"/>
                <a:cs typeface="+mj-cs"/>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8498418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dirty="0">
                <a:latin typeface="Univers Condensed" panose="020B0506020202050204" pitchFamily="34" charset="0"/>
                <a:cs typeface="Arial" panose="020B0604020202020204" pitchFamily="34" charset="0"/>
              </a:rPr>
            </a:br>
            <a:r>
              <a:rPr lang="it-IT" sz="1600" dirty="0">
                <a:latin typeface="Univers Condensed" panose="020B050602020205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latin typeface="Univers Condensed" panose="020B0506020202050204" pitchFamily="34" charset="0"/>
              </a:rPr>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400866145"/>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dirty="0">
              <a:latin typeface="Univers Condensed" panose="020B0506020202050204" pitchFamily="34" charset="0"/>
              <a:ea typeface="+mn-ea"/>
              <a:cs typeface="+mn-cs"/>
              <a:sym typeface="Trebuchet MS" panose="020B0603020202020204" pitchFamily="34" charset="0"/>
            </a:endParaRPr>
          </a:p>
        </p:txBody>
      </p:sp>
      <p:pic>
        <p:nvPicPr>
          <p:cNvPr id="8" name="Immagine 8">
            <a:extLst>
              <a:ext uri="{FF2B5EF4-FFF2-40B4-BE49-F238E27FC236}">
                <a16:creationId xmlns:a16="http://schemas.microsoft.com/office/drawing/2014/main" id="{88FB652A-D8E9-44DE-894A-A21AE428CDC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9" name="Slide Number Placeholder 5">
            <a:extLst>
              <a:ext uri="{FF2B5EF4-FFF2-40B4-BE49-F238E27FC236}">
                <a16:creationId xmlns:a16="http://schemas.microsoft.com/office/drawing/2014/main" id="{631B86E1-B202-4FB7-B4AD-DEFF73F2238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4271294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B1D225-6ED8-4493-B975-27F7031F4BD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a:extLst>
                          <a:ext uri="{FF2B5EF4-FFF2-40B4-BE49-F238E27FC236}">
                            <a16:creationId xmlns:a16="http://schemas.microsoft.com/office/drawing/2014/main" id="{63B1D225-6ED8-4493-B975-27F7031F4BD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7" name="Title 6">
            <a:extLst>
              <a:ext uri="{FF2B5EF4-FFF2-40B4-BE49-F238E27FC236}">
                <a16:creationId xmlns:a16="http://schemas.microsoft.com/office/drawing/2014/main" id="{46BDEBF8-5CB6-448E-BA34-B54DFF39FA68}"/>
              </a:ext>
            </a:extLst>
          </p:cNvPr>
          <p:cNvSpPr>
            <a:spLocks noGrp="1"/>
          </p:cNvSpPr>
          <p:nvPr>
            <p:ph type="title" hasCustomPrompt="1"/>
          </p:nvPr>
        </p:nvSpPr>
        <p:spPr>
          <a:xfrm>
            <a:off x="334435" y="357719"/>
            <a:ext cx="11523132" cy="332399"/>
          </a:xfrm>
        </p:spPr>
        <p:txBody>
          <a:bodyPr vert="horz"/>
          <a:lstStyle>
            <a:lvl1pPr>
              <a:defRPr>
                <a:solidFill>
                  <a:schemeClr val="bg1"/>
                </a:solidFill>
                <a:latin typeface="Univers Condensed" panose="020B0506020202050204" pitchFamily="34" charset="0"/>
                <a:ea typeface="+mj-ea"/>
                <a:cs typeface="+mj-cs"/>
              </a:defRPr>
            </a:lvl1pPr>
          </a:lstStyle>
          <a:p>
            <a:r>
              <a:rPr lang="en-US" dirty="0"/>
              <a:t>Click to add title</a:t>
            </a:r>
          </a:p>
        </p:txBody>
      </p:sp>
      <p:pic>
        <p:nvPicPr>
          <p:cNvPr id="14" name="Immagine 8">
            <a:extLst>
              <a:ext uri="{FF2B5EF4-FFF2-40B4-BE49-F238E27FC236}">
                <a16:creationId xmlns:a16="http://schemas.microsoft.com/office/drawing/2014/main" id="{C2B35566-D65F-4B68-BA60-F6084D969CCA}"/>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3B2AAB17-1D51-4888-AFE8-5CE7F3B0AD4F}"/>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31391704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400319-7894-4688-844F-951C90CCCEB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C1400319-7894-4688-844F-951C90CCCEB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20" name="TextBox 19"/>
          <p:cNvSpPr txBox="1"/>
          <p:nvPr userDrawn="1"/>
        </p:nvSpPr>
        <p:spPr>
          <a:xfrm>
            <a:off x="334435" y="2619809"/>
            <a:ext cx="3114967" cy="1678023"/>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333" b="1" dirty="0">
                <a:solidFill>
                  <a:schemeClr val="tx2"/>
                </a:solidFill>
                <a:latin typeface="Univers Condensed" panose="020B0506020202050204" pitchFamily="34" charset="0"/>
                <a:ea typeface="+mn-ea"/>
                <a:cs typeface="+mn-cs"/>
                <a:sym typeface="Trebuchet MS" panose="020B0603020202020204" pitchFamily="34" charset="0"/>
              </a:rPr>
              <a:t>Table of contents</a:t>
            </a:r>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Immagine 8">
            <a:extLst>
              <a:ext uri="{FF2B5EF4-FFF2-40B4-BE49-F238E27FC236}">
                <a16:creationId xmlns:a16="http://schemas.microsoft.com/office/drawing/2014/main" id="{A1F64497-12DD-4AF7-B105-227E7FE4E46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003A23FF-E2B3-4C9B-8CBA-BA29213E39B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2209291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B5C7F70-895D-427F-AAFF-3053CDAEB5D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CB5C7F70-895D-427F-AAFF-3053CDAEB5D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7" name="Immagine 8">
            <a:extLst>
              <a:ext uri="{FF2B5EF4-FFF2-40B4-BE49-F238E27FC236}">
                <a16:creationId xmlns:a16="http://schemas.microsoft.com/office/drawing/2014/main" id="{E1D5FA5C-F511-47D2-BD79-3B3F41893CF5}"/>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8" name="Slide Number Placeholder 5">
            <a:extLst>
              <a:ext uri="{FF2B5EF4-FFF2-40B4-BE49-F238E27FC236}">
                <a16:creationId xmlns:a16="http://schemas.microsoft.com/office/drawing/2014/main" id="{23A49329-9F9B-4376-9D2C-D47FD7F59BE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2315695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95F06AD-038C-47A8-9EA0-6993112BB582}"/>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B95F06AD-038C-47A8-9EA0-6993112BB582}"/>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973328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FE29DE-7190-4925-BB6F-2BB05B2A877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F3FE29DE-7190-4925-BB6F-2BB05B2A877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8" name="Title 6">
            <a:extLst>
              <a:ext uri="{FF2B5EF4-FFF2-40B4-BE49-F238E27FC236}">
                <a16:creationId xmlns:a16="http://schemas.microsoft.com/office/drawing/2014/main" id="{0333A3DF-AD98-4990-8AA1-54CDC17AF811}"/>
              </a:ext>
            </a:extLst>
          </p:cNvPr>
          <p:cNvSpPr txBox="1">
            <a:spLocks/>
          </p:cNvSpPr>
          <p:nvPr userDrawn="1"/>
        </p:nvSpPr>
        <p:spPr>
          <a:xfrm>
            <a:off x="334435" y="2975354"/>
            <a:ext cx="3504140" cy="70179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067" b="1" dirty="0">
                <a:gradFill>
                  <a:gsLst>
                    <a:gs pos="100000">
                      <a:schemeClr val="tx2"/>
                    </a:gs>
                    <a:gs pos="2000">
                      <a:schemeClr val="accent2"/>
                    </a:gs>
                  </a:gsLst>
                  <a:lin ang="2700000" scaled="0"/>
                </a:gradFill>
                <a:latin typeface="Univers Condensed" panose="020B0506020202050204" pitchFamily="34" charset="0"/>
                <a:ea typeface="+mn-ea"/>
                <a:cs typeface="+mn-cs"/>
                <a:sym typeface="Trebuchet MS" panose="020B0603020202020204" pitchFamily="34" charset="0"/>
              </a:rPr>
              <a:t>Disclaimer</a:t>
            </a:r>
          </a:p>
        </p:txBody>
      </p:sp>
      <p:cxnSp>
        <p:nvCxnSpPr>
          <p:cNvPr id="11" name="Straight Connector 10">
            <a:extLst>
              <a:ext uri="{FF2B5EF4-FFF2-40B4-BE49-F238E27FC236}">
                <a16:creationId xmlns:a16="http://schemas.microsoft.com/office/drawing/2014/main" id="{92B65581-7263-406B-BA0A-E05F50D6B620}"/>
              </a:ext>
            </a:extLst>
          </p:cNvPr>
          <p:cNvCxnSpPr/>
          <p:nvPr userDrawn="1"/>
        </p:nvCxnSpPr>
        <p:spPr>
          <a:xfrm>
            <a:off x="4367899"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D611BC4C-68A5-4CAA-BFDE-240CA941B9E4}"/>
              </a:ext>
            </a:extLst>
          </p:cNvPr>
          <p:cNvSpPr>
            <a:spLocks noGrp="1"/>
          </p:cNvSpPr>
          <p:nvPr>
            <p:ph type="body" sz="quarter" idx="10" hasCustomPrompt="1"/>
          </p:nvPr>
        </p:nvSpPr>
        <p:spPr>
          <a:xfrm>
            <a:off x="5021827" y="1664257"/>
            <a:ext cx="6209072" cy="3323987"/>
          </a:xfrm>
        </p:spPr>
        <p:txBody>
          <a:bodyPr/>
          <a:lstStyle>
            <a:lvl1pPr>
              <a:defRPr sz="933">
                <a:latin typeface="Univers Condensed" panose="020B0506020202050204" pitchFamily="34" charset="0"/>
                <a:ea typeface="+mn-ea"/>
                <a:cs typeface="+mn-cs"/>
              </a:defRPr>
            </a:lvl1pPr>
          </a:lstStyle>
          <a:p>
            <a:pPr lvl="0"/>
            <a:r>
              <a:rPr lang="en-US" dirty="0"/>
              <a:t>Edit text</a:t>
            </a:r>
          </a:p>
        </p:txBody>
      </p:sp>
    </p:spTree>
    <p:extLst>
      <p:ext uri="{BB962C8B-B14F-4D97-AF65-F5344CB8AC3E}">
        <p14:creationId xmlns:p14="http://schemas.microsoft.com/office/powerpoint/2010/main" val="2796111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7" name="Titolo 1">
            <a:extLst>
              <a:ext uri="{FF2B5EF4-FFF2-40B4-BE49-F238E27FC236}">
                <a16:creationId xmlns:a16="http://schemas.microsoft.com/office/drawing/2014/main" id="{ACE11E19-9773-4824-BA0E-BC4A67E06151}"/>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dirty="0">
                <a:latin typeface="Univers Condensed" panose="020B0506020202050204" pitchFamily="34" charset="0"/>
                <a:ea typeface="+mn-ea"/>
                <a:cs typeface="+mn-cs"/>
              </a:rPr>
            </a:br>
            <a:r>
              <a:rPr lang="it-IT" sz="1600" dirty="0">
                <a:latin typeface="Univers Condensed" panose="020B0506020202050204" pitchFamily="34" charset="0"/>
                <a:ea typeface="+mn-ea"/>
                <a:cs typeface="+mn-cs"/>
              </a:rPr>
              <a:t>Investiamo nel domani</a:t>
            </a:r>
          </a:p>
        </p:txBody>
      </p:sp>
      <p:sp>
        <p:nvSpPr>
          <p:cNvPr id="11" name="CasellaDiTesto 5">
            <a:extLst>
              <a:ext uri="{FF2B5EF4-FFF2-40B4-BE49-F238E27FC236}">
                <a16:creationId xmlns:a16="http://schemas.microsoft.com/office/drawing/2014/main" id="{697E90E9-6054-428C-B295-6021CDC808A5}"/>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it-IT" sz="5333" b="0" i="0" u="none" strike="noStrike" kern="0" cap="none" spc="0" normalizeH="0" baseline="0" noProof="0" dirty="0">
                <a:ln>
                  <a:noFill/>
                </a:ln>
                <a:solidFill>
                  <a:srgbClr val="415364"/>
                </a:solidFill>
                <a:effectLst/>
                <a:uLnTx/>
                <a:uFillTx/>
                <a:latin typeface="Univers Condensed" panose="020B0506020202050204" pitchFamily="34" charset="0"/>
                <a:ea typeface="+mn-ea"/>
                <a:cs typeface="+mn-cs"/>
              </a:rPr>
              <a:t>Grazie</a:t>
            </a:r>
          </a:p>
        </p:txBody>
      </p:sp>
      <p:pic>
        <p:nvPicPr>
          <p:cNvPr id="12" name="Immagine 8">
            <a:extLst>
              <a:ext uri="{FF2B5EF4-FFF2-40B4-BE49-F238E27FC236}">
                <a16:creationId xmlns:a16="http://schemas.microsoft.com/office/drawing/2014/main" id="{6DEC2C2F-2DE4-451F-9CC8-CDF91FB109E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13956118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B28A9CC-B7F3-436E-84BC-1D6DF0C7C4B2}"/>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9B28A9CC-B7F3-436E-84BC-1D6DF0C7C4B2}"/>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grpSp>
        <p:nvGrpSpPr>
          <p:cNvPr id="51" name="Group 50">
            <a:extLst>
              <a:ext uri="{FF2B5EF4-FFF2-40B4-BE49-F238E27FC236}">
                <a16:creationId xmlns:a16="http://schemas.microsoft.com/office/drawing/2014/main" id="{7189452D-1CCB-41B1-AA2B-61C9161F1454}"/>
              </a:ext>
            </a:extLst>
          </p:cNvPr>
          <p:cNvGrpSpPr/>
          <p:nvPr userDrawn="1"/>
        </p:nvGrpSpPr>
        <p:grpSpPr>
          <a:xfrm>
            <a:off x="-600" y="-1"/>
            <a:ext cx="12193800" cy="6858001"/>
            <a:chOff x="-450" y="-1"/>
            <a:chExt cx="9145350" cy="5143501"/>
          </a:xfrm>
        </p:grpSpPr>
        <p:sp>
          <p:nvSpPr>
            <p:cNvPr id="52" name="No fly zone">
              <a:extLst>
                <a:ext uri="{FF2B5EF4-FFF2-40B4-BE49-F238E27FC236}">
                  <a16:creationId xmlns:a16="http://schemas.microsoft.com/office/drawing/2014/main" id="{E40AB219-E9C9-426F-8F7B-C4038B409FF7}"/>
                </a:ext>
              </a:extLst>
            </p:cNvPr>
            <p:cNvSpPr/>
            <p:nvPr/>
          </p:nvSpPr>
          <p:spPr>
            <a:xfrm>
              <a:off x="0" y="-1"/>
              <a:ext cx="9144900" cy="51435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solidFill>
                  <a:schemeClr val="tx1"/>
                </a:solidFill>
                <a:latin typeface="Univers Condensed" panose="020B0506020202050204" pitchFamily="34" charset="0"/>
                <a:ea typeface="+mn-ea"/>
                <a:cs typeface="+mn-cs"/>
              </a:endParaRPr>
            </a:p>
          </p:txBody>
        </p:sp>
        <p:grpSp>
          <p:nvGrpSpPr>
            <p:cNvPr id="53" name="Baselines / anchors">
              <a:extLst>
                <a:ext uri="{FF2B5EF4-FFF2-40B4-BE49-F238E27FC236}">
                  <a16:creationId xmlns:a16="http://schemas.microsoft.com/office/drawing/2014/main" id="{40DB03D3-201E-4FCB-8DD2-D15748E2DF50}"/>
                </a:ext>
              </a:extLst>
            </p:cNvPr>
            <p:cNvGrpSpPr/>
            <p:nvPr userDrawn="1"/>
          </p:nvGrpSpPr>
          <p:grpSpPr>
            <a:xfrm>
              <a:off x="-450" y="467100"/>
              <a:ext cx="9144900" cy="4073893"/>
              <a:chOff x="12623800" y="622800"/>
              <a:chExt cx="11176000" cy="5536800"/>
            </a:xfrm>
          </p:grpSpPr>
          <p:cxnSp>
            <p:nvCxnSpPr>
              <p:cNvPr id="78" name="Straight Connector 77">
                <a:extLst>
                  <a:ext uri="{FF2B5EF4-FFF2-40B4-BE49-F238E27FC236}">
                    <a16:creationId xmlns:a16="http://schemas.microsoft.com/office/drawing/2014/main" id="{262DC3F4-B86C-4DCC-903E-EBF6C109320F}"/>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236A330-BCF2-4B1F-84EF-4FB4E94A610B}"/>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DA7C80B0-D289-4706-8B8E-FC23B6B4FD0C}"/>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82531583-E3E4-44F1-B4AD-0E2D9178173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797926D-4DDA-48A5-88C6-C3A8800B452D}"/>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3EC69534-1303-4A8D-9CF0-45FCA1192A90}"/>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85C8FDE-E5FD-47D0-9255-B18C122ED344}"/>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9A8E5AB-2936-434F-B110-7D9F6D471F42}"/>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D042711B-AE56-423A-8257-AE5AB55888C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35B844B4-0019-4B94-8136-412FAC93679E}"/>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1DD94C7E-8392-4E18-8291-6A382861C55F}"/>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B78C286-F290-4A82-B470-382446F32140}"/>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6A4A7847-C95C-4CDB-94D7-9FF93B97FF0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869CADE-35F9-4CC5-A844-4E5C9D2F6B22}"/>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21778A7-8804-4481-B74B-523443CB54BC}"/>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471B1321-0A7A-45FC-86D2-BD3B24E4A0D4}"/>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1BF9F6F4-B2D1-4547-90D9-5A1A7BDFF3E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551DDDBC-1DB0-4AB9-9BF5-A9EF04E6ADE8}"/>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3A45FBFC-8BC5-4F8C-9D4F-3D5E2F0C8084}"/>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B88A7F07-177E-48DA-8768-86679D1FF968}"/>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4" name="Gutter space">
              <a:extLst>
                <a:ext uri="{FF2B5EF4-FFF2-40B4-BE49-F238E27FC236}">
                  <a16:creationId xmlns:a16="http://schemas.microsoft.com/office/drawing/2014/main" id="{6A79F0A2-38F6-4EBF-AF18-69357ACE3AA4}"/>
                </a:ext>
              </a:extLst>
            </p:cNvPr>
            <p:cNvGrpSpPr/>
            <p:nvPr userDrawn="1"/>
          </p:nvGrpSpPr>
          <p:grpSpPr>
            <a:xfrm>
              <a:off x="472500" y="467663"/>
              <a:ext cx="8153026" cy="4095464"/>
              <a:chOff x="1277000" y="623550"/>
              <a:chExt cx="9638000" cy="5537047"/>
            </a:xfrm>
          </p:grpSpPr>
          <p:sp>
            <p:nvSpPr>
              <p:cNvPr id="67" name="Rectangle 34">
                <a:extLst>
                  <a:ext uri="{FF2B5EF4-FFF2-40B4-BE49-F238E27FC236}">
                    <a16:creationId xmlns:a16="http://schemas.microsoft.com/office/drawing/2014/main" id="{F7F4024B-1778-45FE-8CEA-607BD5691BEF}"/>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68" name="Rectangle 35">
                <a:extLst>
                  <a:ext uri="{FF2B5EF4-FFF2-40B4-BE49-F238E27FC236}">
                    <a16:creationId xmlns:a16="http://schemas.microsoft.com/office/drawing/2014/main" id="{DACBC4FF-35D5-47A2-9B3F-50AB36FDEAE6}"/>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69" name="Rectangle 36">
                <a:extLst>
                  <a:ext uri="{FF2B5EF4-FFF2-40B4-BE49-F238E27FC236}">
                    <a16:creationId xmlns:a16="http://schemas.microsoft.com/office/drawing/2014/main" id="{32209605-CE1E-49BD-952A-DE2B5A3C649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0" name="Rectangle 37">
                <a:extLst>
                  <a:ext uri="{FF2B5EF4-FFF2-40B4-BE49-F238E27FC236}">
                    <a16:creationId xmlns:a16="http://schemas.microsoft.com/office/drawing/2014/main" id="{90E5767A-3D40-4D57-BDD5-4B872D761EB9}"/>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1" name="Rectangle 38">
                <a:extLst>
                  <a:ext uri="{FF2B5EF4-FFF2-40B4-BE49-F238E27FC236}">
                    <a16:creationId xmlns:a16="http://schemas.microsoft.com/office/drawing/2014/main" id="{FD02B149-0EE4-4740-AB0A-ADFEC18F1056}"/>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2" name="Rectangle 39">
                <a:extLst>
                  <a:ext uri="{FF2B5EF4-FFF2-40B4-BE49-F238E27FC236}">
                    <a16:creationId xmlns:a16="http://schemas.microsoft.com/office/drawing/2014/main" id="{EED6AEDB-5398-453D-BB07-290524E7A445}"/>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3" name="Rectangle 40">
                <a:extLst>
                  <a:ext uri="{FF2B5EF4-FFF2-40B4-BE49-F238E27FC236}">
                    <a16:creationId xmlns:a16="http://schemas.microsoft.com/office/drawing/2014/main" id="{1D8F69E3-1553-44A3-B498-D6B0270A4E36}"/>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4" name="Rectangle 41">
                <a:extLst>
                  <a:ext uri="{FF2B5EF4-FFF2-40B4-BE49-F238E27FC236}">
                    <a16:creationId xmlns:a16="http://schemas.microsoft.com/office/drawing/2014/main" id="{8E5FDFDB-932F-4B0F-BC9E-664FEBF0EEE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5" name="Rectangle 42">
                <a:extLst>
                  <a:ext uri="{FF2B5EF4-FFF2-40B4-BE49-F238E27FC236}">
                    <a16:creationId xmlns:a16="http://schemas.microsoft.com/office/drawing/2014/main" id="{23331373-11CC-4C4D-A0BE-9E2378E422D5}"/>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6" name="Rectangle 43">
                <a:extLst>
                  <a:ext uri="{FF2B5EF4-FFF2-40B4-BE49-F238E27FC236}">
                    <a16:creationId xmlns:a16="http://schemas.microsoft.com/office/drawing/2014/main" id="{D6CD0EF1-B11E-400E-B7E1-5854EC4611AA}"/>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77" name="Rectangle 44">
                <a:extLst>
                  <a:ext uri="{FF2B5EF4-FFF2-40B4-BE49-F238E27FC236}">
                    <a16:creationId xmlns:a16="http://schemas.microsoft.com/office/drawing/2014/main" id="{4327EFD2-5803-4DF7-BEE3-6D5C1C54AFD6}"/>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grpSp>
        <p:sp>
          <p:nvSpPr>
            <p:cNvPr id="55" name="Slide edges">
              <a:extLst>
                <a:ext uri="{FF2B5EF4-FFF2-40B4-BE49-F238E27FC236}">
                  <a16:creationId xmlns:a16="http://schemas.microsoft.com/office/drawing/2014/main" id="{48F20335-C728-451C-B138-44EF185AE3BA}"/>
                </a:ext>
              </a:extLst>
            </p:cNvPr>
            <p:cNvSpPr>
              <a:spLocks/>
            </p:cNvSpPr>
            <p:nvPr/>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Univers Condensed" panose="020B0506020202050204" pitchFamily="34" charset="0"/>
                <a:ea typeface="+mn-ea"/>
                <a:cs typeface="+mn-cs"/>
              </a:endParaRPr>
            </a:p>
          </p:txBody>
        </p:sp>
        <p:sp>
          <p:nvSpPr>
            <p:cNvPr id="57" name="Footnote measure">
              <a:extLst>
                <a:ext uri="{FF2B5EF4-FFF2-40B4-BE49-F238E27FC236}">
                  <a16:creationId xmlns:a16="http://schemas.microsoft.com/office/drawing/2014/main" id="{772CA04F-B31B-4376-A513-62F5241CE70A}"/>
                </a:ext>
              </a:extLst>
            </p:cNvPr>
            <p:cNvSpPr>
              <a:spLocks noChangeArrowheads="1"/>
            </p:cNvSpPr>
            <p:nvPr/>
          </p:nvSpPr>
          <p:spPr bwMode="auto">
            <a:xfrm>
              <a:off x="250375" y="4563137"/>
              <a:ext cx="8642350" cy="35680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58" name="Whitespace measure">
              <a:extLst>
                <a:ext uri="{FF2B5EF4-FFF2-40B4-BE49-F238E27FC236}">
                  <a16:creationId xmlns:a16="http://schemas.microsoft.com/office/drawing/2014/main" id="{1825E3BF-B03E-43AA-AAC3-CEF10CD6A913}"/>
                </a:ext>
              </a:extLst>
            </p:cNvPr>
            <p:cNvSpPr>
              <a:spLocks noChangeArrowheads="1"/>
            </p:cNvSpPr>
            <p:nvPr/>
          </p:nvSpPr>
          <p:spPr bwMode="auto">
            <a:xfrm>
              <a:off x="250375" y="868677"/>
              <a:ext cx="8642350"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grpSp>
          <p:nvGrpSpPr>
            <p:cNvPr id="59" name="Five column measure">
              <a:extLst>
                <a:ext uri="{FF2B5EF4-FFF2-40B4-BE49-F238E27FC236}">
                  <a16:creationId xmlns:a16="http://schemas.microsoft.com/office/drawing/2014/main" id="{2CA858E5-430D-4AAF-AFBB-AF5FDD38E383}"/>
                </a:ext>
              </a:extLst>
            </p:cNvPr>
            <p:cNvGrpSpPr/>
            <p:nvPr userDrawn="1"/>
          </p:nvGrpSpPr>
          <p:grpSpPr>
            <a:xfrm>
              <a:off x="250825" y="4471914"/>
              <a:ext cx="8642350" cy="59652"/>
              <a:chOff x="629400" y="5975122"/>
              <a:chExt cx="10933200" cy="79536"/>
            </a:xfrm>
          </p:grpSpPr>
          <p:sp>
            <p:nvSpPr>
              <p:cNvPr id="62" name="Rectangle 5">
                <a:extLst>
                  <a:ext uri="{FF2B5EF4-FFF2-40B4-BE49-F238E27FC236}">
                    <a16:creationId xmlns:a16="http://schemas.microsoft.com/office/drawing/2014/main" id="{F8592A28-0FCB-4964-9F62-8DA3F0E3933A}"/>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63" name="Rectangle 7">
                <a:extLst>
                  <a:ext uri="{FF2B5EF4-FFF2-40B4-BE49-F238E27FC236}">
                    <a16:creationId xmlns:a16="http://schemas.microsoft.com/office/drawing/2014/main" id="{C530550A-07DD-4954-9611-AD489A054D3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64" name="Rectangle 9">
                <a:extLst>
                  <a:ext uri="{FF2B5EF4-FFF2-40B4-BE49-F238E27FC236}">
                    <a16:creationId xmlns:a16="http://schemas.microsoft.com/office/drawing/2014/main" id="{C2C7FBA6-4D33-43A4-8663-3AABB4BCBD2B}"/>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65" name="Rectangle 11">
                <a:extLst>
                  <a:ext uri="{FF2B5EF4-FFF2-40B4-BE49-F238E27FC236}">
                    <a16:creationId xmlns:a16="http://schemas.microsoft.com/office/drawing/2014/main" id="{CAFF74AD-92D8-455D-95DF-CE64B36B1A42}"/>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sp>
            <p:nvSpPr>
              <p:cNvPr id="66" name="Rectangle 13">
                <a:extLst>
                  <a:ext uri="{FF2B5EF4-FFF2-40B4-BE49-F238E27FC236}">
                    <a16:creationId xmlns:a16="http://schemas.microsoft.com/office/drawing/2014/main" id="{33814CA9-2243-40E9-A639-32A54D823694}"/>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Univers Condensed" panose="020B0506020202050204" pitchFamily="34" charset="0"/>
                  <a:ea typeface="+mn-ea"/>
                  <a:cs typeface="+mn-cs"/>
                </a:endParaRPr>
              </a:p>
            </p:txBody>
          </p:sp>
        </p:grpSp>
        <p:sp>
          <p:nvSpPr>
            <p:cNvPr id="60" name="Live area">
              <a:extLst>
                <a:ext uri="{FF2B5EF4-FFF2-40B4-BE49-F238E27FC236}">
                  <a16:creationId xmlns:a16="http://schemas.microsoft.com/office/drawing/2014/main" id="{CEF51CCE-7837-4681-B3FC-3B4509D639E8}"/>
                </a:ext>
              </a:extLst>
            </p:cNvPr>
            <p:cNvSpPr/>
            <p:nvPr/>
          </p:nvSpPr>
          <p:spPr>
            <a:xfrm>
              <a:off x="250825" y="1310640"/>
              <a:ext cx="8642350" cy="323881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Univers Condensed" panose="020B0506020202050204" pitchFamily="34" charset="0"/>
                <a:ea typeface="+mn-ea"/>
                <a:cs typeface="+mn-cs"/>
              </a:endParaRPr>
            </a:p>
          </p:txBody>
        </p:sp>
        <p:sp>
          <p:nvSpPr>
            <p:cNvPr id="61" name="Footnote example">
              <a:extLst>
                <a:ext uri="{FF2B5EF4-FFF2-40B4-BE49-F238E27FC236}">
                  <a16:creationId xmlns:a16="http://schemas.microsoft.com/office/drawing/2014/main" id="{8193C4F4-7D29-4441-B68E-A515F0C9D41B}"/>
                </a:ext>
              </a:extLst>
            </p:cNvPr>
            <p:cNvSpPr txBox="1"/>
            <p:nvPr/>
          </p:nvSpPr>
          <p:spPr>
            <a:xfrm>
              <a:off x="472500" y="4587412"/>
              <a:ext cx="6773186" cy="332543"/>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dirty="0">
                  <a:ln>
                    <a:noFill/>
                  </a:ln>
                  <a:solidFill>
                    <a:schemeClr val="bg1">
                      <a:lumMod val="50000"/>
                    </a:schemeClr>
                  </a:solidFill>
                  <a:effectLst/>
                  <a:uLnTx/>
                  <a:uFillTx/>
                  <a:latin typeface="Univers Condensed" panose="020B0506020202050204" pitchFamily="34" charset="0"/>
                  <a:ea typeface="+mn-ea"/>
                  <a:cs typeface="+mn-cs"/>
                  <a:sym typeface="Trebuchet MS" panose="020B0603020202020204" pitchFamily="34" charset="0"/>
                </a:rPr>
                <a:t>1. </a:t>
              </a:r>
              <a:r>
                <a:rPr kumimoji="0" lang="en-US" sz="1067" b="0" i="0" u="none" strike="noStrike" kern="1200" cap="none" spc="0" normalizeH="0" baseline="0" noProof="0" dirty="0" err="1">
                  <a:ln>
                    <a:noFill/>
                  </a:ln>
                  <a:solidFill>
                    <a:schemeClr val="bg1">
                      <a:lumMod val="50000"/>
                    </a:schemeClr>
                  </a:solidFill>
                  <a:effectLst/>
                  <a:uLnTx/>
                  <a:uFillTx/>
                  <a:latin typeface="Univers Condensed" panose="020B0506020202050204" pitchFamily="34" charset="0"/>
                  <a:ea typeface="+mn-ea"/>
                  <a:cs typeface="+mn-cs"/>
                  <a:sym typeface="Trebuchet MS" panose="020B0603020202020204" pitchFamily="34" charset="0"/>
                </a:rPr>
                <a:t>xxxx</a:t>
              </a:r>
              <a:r>
                <a:rPr kumimoji="0" lang="en-US" sz="1067" b="0" i="0" u="none" strike="noStrike" kern="1200" cap="none" spc="0" normalizeH="0" baseline="0" noProof="0" dirty="0">
                  <a:ln>
                    <a:noFill/>
                  </a:ln>
                  <a:solidFill>
                    <a:schemeClr val="bg1">
                      <a:lumMod val="50000"/>
                    </a:schemeClr>
                  </a:solidFill>
                  <a:effectLst/>
                  <a:uLnTx/>
                  <a:uFillTx/>
                  <a:latin typeface="Univers Condensed" panose="020B0506020202050204" pitchFamily="34" charset="0"/>
                  <a:ea typeface="+mn-ea"/>
                  <a:cs typeface="+mn-cs"/>
                  <a:sym typeface="Trebuchet MS" panose="020B0603020202020204" pitchFamily="34" charset="0"/>
                </a:rPr>
                <a:t>  2. </a:t>
              </a:r>
              <a:r>
                <a:rPr kumimoji="0" lang="en-US" sz="1067" b="0" i="0" u="none" strike="noStrike" kern="1200" cap="none" spc="0" normalizeH="0" baseline="0" noProof="0" dirty="0" err="1">
                  <a:ln>
                    <a:noFill/>
                  </a:ln>
                  <a:solidFill>
                    <a:schemeClr val="bg1">
                      <a:lumMod val="50000"/>
                    </a:schemeClr>
                  </a:solidFill>
                  <a:effectLst/>
                  <a:uLnTx/>
                  <a:uFillTx/>
                  <a:latin typeface="Univers Condensed" panose="020B0506020202050204" pitchFamily="34" charset="0"/>
                  <a:ea typeface="+mn-ea"/>
                  <a:cs typeface="+mn-cs"/>
                  <a:sym typeface="Trebuchet MS" panose="020B0603020202020204" pitchFamily="34" charset="0"/>
                </a:rPr>
                <a:t>xxxx</a:t>
              </a:r>
              <a:r>
                <a:rPr kumimoji="0" lang="en-US" sz="1067" b="0" i="0" u="none" strike="noStrike" kern="1200" cap="none" spc="0" normalizeH="0" baseline="0" noProof="0" dirty="0">
                  <a:ln>
                    <a:noFill/>
                  </a:ln>
                  <a:solidFill>
                    <a:schemeClr val="bg1">
                      <a:lumMod val="50000"/>
                    </a:schemeClr>
                  </a:solidFill>
                  <a:effectLst/>
                  <a:uLnTx/>
                  <a:uFillTx/>
                  <a:latin typeface="Univers Condensed" panose="020B0506020202050204" pitchFamily="34" charset="0"/>
                  <a:ea typeface="+mn-ea"/>
                  <a:cs typeface="+mn-cs"/>
                  <a:sym typeface="Trebuchet MS" panose="020B0603020202020204" pitchFamily="34" charset="0"/>
                </a:rPr>
                <a:t>  3. List footnotes in numerical order. Footnote numbers are not bracketed. Use 8pt font</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dirty="0">
                  <a:ln>
                    <a:noFill/>
                  </a:ln>
                  <a:solidFill>
                    <a:schemeClr val="bg1">
                      <a:lumMod val="50000"/>
                    </a:schemeClr>
                  </a:solidFill>
                  <a:effectLst/>
                  <a:uLnTx/>
                  <a:uFillTx/>
                  <a:latin typeface="Univers Condensed" panose="020B0506020202050204" pitchFamily="34" charset="0"/>
                  <a:ea typeface="+mn-ea"/>
                  <a:cs typeface="+mn-cs"/>
                  <a:sym typeface="Trebuchet MS" panose="020B0603020202020204" pitchFamily="34" charset="0"/>
                </a:rPr>
                <a:t>Note: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dirty="0">
                  <a:ln>
                    <a:noFill/>
                  </a:ln>
                  <a:solidFill>
                    <a:schemeClr val="bg1">
                      <a:lumMod val="50000"/>
                    </a:schemeClr>
                  </a:solidFill>
                  <a:effectLst/>
                  <a:uLnTx/>
                  <a:uFillTx/>
                  <a:latin typeface="Univers Condensed" panose="020B0506020202050204" pitchFamily="34" charset="0"/>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22747031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11" name="Rectangle 10"/>
          <p:cNvSpPr/>
          <p:nvPr userDrawn="1"/>
        </p:nvSpPr>
        <p:spPr bwMode="invGray">
          <a:xfrm>
            <a:off x="1092581" y="4691188"/>
            <a:ext cx="929337" cy="995875"/>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Univers Condensed" panose="020B0506020202050204" pitchFamily="34" charset="0"/>
              <a:ea typeface="+mn-ea"/>
              <a:cs typeface="+mn-cs"/>
            </a:endParaRPr>
          </a:p>
        </p:txBody>
      </p:sp>
      <p:sp>
        <p:nvSpPr>
          <p:cNvPr id="12" name="Rectangle 11"/>
          <p:cNvSpPr/>
          <p:nvPr userDrawn="1">
            <p:custDataLst>
              <p:tags r:id="rId2"/>
            </p:custDataLst>
          </p:nvPr>
        </p:nvSpPr>
        <p:spPr>
          <a:xfrm>
            <a:off x="2213916"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Univers Condensed" panose="020B0506020202050204" pitchFamily="34" charset="0"/>
              <a:ea typeface="+mn-ea"/>
              <a:cs typeface="+mn-cs"/>
            </a:endParaRPr>
          </a:p>
        </p:txBody>
      </p:sp>
      <p:sp>
        <p:nvSpPr>
          <p:cNvPr id="2" name="TextBox 1"/>
          <p:cNvSpPr txBox="1"/>
          <p:nvPr userDrawn="1"/>
        </p:nvSpPr>
        <p:spPr>
          <a:xfrm>
            <a:off x="334433" y="907199"/>
            <a:ext cx="3448800" cy="3450336"/>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333" b="1" dirty="0">
              <a:solidFill>
                <a:schemeClr val="bg1"/>
              </a:solidFill>
              <a:latin typeface="Univers Condensed" panose="020B0506020202050204" pitchFamily="34" charset="0"/>
              <a:ea typeface="+mn-ea"/>
              <a:cs typeface="+mn-cs"/>
            </a:endParaRPr>
          </a:p>
        </p:txBody>
      </p:sp>
      <p:sp>
        <p:nvSpPr>
          <p:cNvPr id="10" name="TextBox 1"/>
          <p:cNvSpPr txBox="1"/>
          <p:nvPr userDrawn="1"/>
        </p:nvSpPr>
        <p:spPr>
          <a:xfrm>
            <a:off x="903350" y="1115416"/>
            <a:ext cx="2310248" cy="871970"/>
          </a:xfrm>
          <a:prstGeom prst="rect">
            <a:avLst/>
          </a:prstGeom>
          <a:noFill/>
        </p:spPr>
        <p:txBody>
          <a:bodyPr wrap="none" rtlCol="0">
            <a:spAutoFit/>
          </a:bodyPr>
          <a:lstStyle/>
          <a:p>
            <a:pPr algn="ctr" fontAlgn="auto">
              <a:lnSpc>
                <a:spcPct val="95000"/>
              </a:lnSpc>
              <a:spcBef>
                <a:spcPts val="0"/>
              </a:spcBef>
              <a:spcAft>
                <a:spcPts val="0"/>
              </a:spcAft>
            </a:pPr>
            <a:r>
              <a:rPr lang="en-US" sz="5333" b="1" dirty="0">
                <a:solidFill>
                  <a:schemeClr val="bg1"/>
                </a:solidFill>
                <a:latin typeface="Univers Condensed" panose="020B0506020202050204" pitchFamily="34" charset="0"/>
                <a:ea typeface="+mn-ea"/>
                <a:cs typeface="+mn-cs"/>
              </a:rPr>
              <a:t>Agenda</a:t>
            </a:r>
          </a:p>
        </p:txBody>
      </p:sp>
      <p:pic>
        <p:nvPicPr>
          <p:cNvPr id="14" name="Immagine 8">
            <a:extLst>
              <a:ext uri="{FF2B5EF4-FFF2-40B4-BE49-F238E27FC236}">
                <a16:creationId xmlns:a16="http://schemas.microsoft.com/office/drawing/2014/main" id="{ABE5AF2C-20D6-4F62-A1AA-77E8196263BB}"/>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59CE1CCC-BC12-457B-BA9B-06585D5AFD88}"/>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158711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Univers Condensed" panose="020B0506020202050204" pitchFamily="34" charset="0"/>
              <a:ea typeface="+mn-ea"/>
              <a:cs typeface="+mn-cs"/>
            </a:endParaRPr>
          </a:p>
        </p:txBody>
      </p:sp>
      <p:pic>
        <p:nvPicPr>
          <p:cNvPr id="8" name="Immagine 8">
            <a:extLst>
              <a:ext uri="{FF2B5EF4-FFF2-40B4-BE49-F238E27FC236}">
                <a16:creationId xmlns:a16="http://schemas.microsoft.com/office/drawing/2014/main" id="{DDA1DD87-6109-4C89-882E-3411D07CA17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1" name="Slide Number Placeholder 5">
            <a:extLst>
              <a:ext uri="{FF2B5EF4-FFF2-40B4-BE49-F238E27FC236}">
                <a16:creationId xmlns:a16="http://schemas.microsoft.com/office/drawing/2014/main" id="{07C617F3-ADC2-4A47-BA56-2DBA67D2A89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3564802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Intestazione CERCHI">
    <p:spTree>
      <p:nvGrpSpPr>
        <p:cNvPr id="1" name=""/>
        <p:cNvGrpSpPr/>
        <p:nvPr/>
      </p:nvGrpSpPr>
      <p:grpSpPr>
        <a:xfrm>
          <a:off x="0" y="0"/>
          <a:ext cx="0" cy="0"/>
          <a:chOff x="0" y="0"/>
          <a:chExt cx="0" cy="0"/>
        </a:xfrm>
      </p:grpSpPr>
      <p:pic>
        <p:nvPicPr>
          <p:cNvPr id="4" name="Immagine 5"/>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2700"/>
            <a:ext cx="2592917" cy="88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ottotitolo 2"/>
          <p:cNvSpPr>
            <a:spLocks noGrp="1"/>
          </p:cNvSpPr>
          <p:nvPr>
            <p:ph type="subTitle" idx="1"/>
          </p:nvPr>
        </p:nvSpPr>
        <p:spPr>
          <a:xfrm>
            <a:off x="2987969" y="3464911"/>
            <a:ext cx="6288075" cy="697627"/>
          </a:xfrm>
        </p:spPr>
        <p:txBody>
          <a:bodyPr/>
          <a:lstStyle>
            <a:lvl1pPr marL="0" indent="0" algn="l">
              <a:buNone/>
              <a:defRPr sz="1867">
                <a:solidFill>
                  <a:schemeClr val="accent3"/>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it-IT" dirty="0"/>
              <a:t>Fare clic per modificare lo stile del sottotitolo dello schema</a:t>
            </a:r>
          </a:p>
        </p:txBody>
      </p:sp>
      <p:sp>
        <p:nvSpPr>
          <p:cNvPr id="9" name="Titolo 8"/>
          <p:cNvSpPr>
            <a:spLocks noGrp="1"/>
          </p:cNvSpPr>
          <p:nvPr>
            <p:ph type="title"/>
          </p:nvPr>
        </p:nvSpPr>
        <p:spPr>
          <a:xfrm>
            <a:off x="2987969" y="2792836"/>
            <a:ext cx="6288075" cy="533480"/>
          </a:xfrm>
        </p:spPr>
        <p:txBody>
          <a:bodyPr/>
          <a:lstStyle>
            <a:lvl1pPr algn="l">
              <a:defRPr sz="2667">
                <a:solidFill>
                  <a:schemeClr val="accent2"/>
                </a:solidFill>
              </a:defRPr>
            </a:lvl1pPr>
          </a:lstStyle>
          <a:p>
            <a:r>
              <a:rPr lang="it-IT" dirty="0"/>
              <a:t>Fare clic per modificare stile</a:t>
            </a:r>
          </a:p>
        </p:txBody>
      </p:sp>
    </p:spTree>
    <p:extLst>
      <p:ext uri="{BB962C8B-B14F-4D97-AF65-F5344CB8AC3E}">
        <p14:creationId xmlns:p14="http://schemas.microsoft.com/office/powerpoint/2010/main" val="2759720320"/>
      </p:ext>
    </p:extLst>
  </p:cSld>
  <p:clrMapOvr>
    <a:overrideClrMapping bg1="lt1" tx1="dk1" bg2="lt2" tx2="dk2" accent1="accent1" accent2="accent2" accent3="accent3" accent4="accent4" accent5="accent5" accent6="accent6" hlink="hlink" folHlink="folHlink"/>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10" name="Title 1"/>
          <p:cNvSpPr txBox="1">
            <a:spLocks/>
          </p:cNvSpPr>
          <p:nvPr userDrawn="1"/>
        </p:nvSpPr>
        <p:spPr>
          <a:xfrm>
            <a:off x="334433" y="622801"/>
            <a:ext cx="7485565"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dirty="0">
                <a:solidFill>
                  <a:schemeClr val="bg1"/>
                </a:solidFill>
                <a:latin typeface="Univers Condensed" panose="020B0506020202050204" pitchFamily="34" charset="0"/>
                <a:ea typeface="+mn-ea"/>
                <a:cs typeface="+mn-cs"/>
              </a:rPr>
              <a:t>Agenda</a:t>
            </a:r>
          </a:p>
        </p:txBody>
      </p:sp>
      <p:cxnSp>
        <p:nvCxnSpPr>
          <p:cNvPr id="13" name="Straight Connector 12"/>
          <p:cNvCxnSpPr/>
          <p:nvPr userDrawn="1"/>
        </p:nvCxnSpPr>
        <p:spPr bwMode="white">
          <a:xfrm>
            <a:off x="334436" y="1206000"/>
            <a:ext cx="11860769"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Immagine 8">
            <a:extLst>
              <a:ext uri="{FF2B5EF4-FFF2-40B4-BE49-F238E27FC236}">
                <a16:creationId xmlns:a16="http://schemas.microsoft.com/office/drawing/2014/main" id="{5C8B20CC-B404-4CE8-ABB6-1B5332D21594}"/>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4F4F287C-1C0D-4A26-82B8-08D2C466B60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545083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17" name="TextBox 16"/>
          <p:cNvSpPr txBox="1"/>
          <p:nvPr userDrawn="1"/>
        </p:nvSpPr>
        <p:spPr>
          <a:xfrm>
            <a:off x="334435" y="3207718"/>
            <a:ext cx="1842711" cy="443198"/>
          </a:xfrm>
          <a:prstGeom prst="rect">
            <a:avLst/>
          </a:prstGeom>
          <a:noFill/>
        </p:spPr>
        <p:txBody>
          <a:bodyPr wrap="square" lIns="0" tIns="0" rIns="0" bIns="0" rtlCol="0" anchor="t">
            <a:spAutoFit/>
          </a:bodyPr>
          <a:lstStyle/>
          <a:p>
            <a:pPr>
              <a:lnSpc>
                <a:spcPct val="90000"/>
              </a:lnSpc>
              <a:spcAft>
                <a:spcPts val="600"/>
              </a:spcAft>
            </a:pPr>
            <a:r>
              <a:rPr lang="en-US" sz="3200" b="1" dirty="0">
                <a:solidFill>
                  <a:schemeClr val="bg1"/>
                </a:solidFill>
                <a:latin typeface="Univers Condensed" panose="020B0506020202050204" pitchFamily="34" charset="0"/>
                <a:ea typeface="+mn-ea"/>
                <a:cs typeface="+mn-cs"/>
              </a:rPr>
              <a:t>Agenda</a:t>
            </a:r>
          </a:p>
        </p:txBody>
      </p:sp>
      <p:pic>
        <p:nvPicPr>
          <p:cNvPr id="9" name="Immagine 8">
            <a:extLst>
              <a:ext uri="{FF2B5EF4-FFF2-40B4-BE49-F238E27FC236}">
                <a16:creationId xmlns:a16="http://schemas.microsoft.com/office/drawing/2014/main" id="{BBEB3C03-075E-4CBC-8159-29022369C13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1" name="Slide Number Placeholder 5">
            <a:extLst>
              <a:ext uri="{FF2B5EF4-FFF2-40B4-BE49-F238E27FC236}">
                <a16:creationId xmlns:a16="http://schemas.microsoft.com/office/drawing/2014/main" id="{D28B607E-A299-4AE7-9F59-3F4CA4D04376}"/>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4082044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invGray">
          <a:xfrm>
            <a:off x="1092581" y="4691188"/>
            <a:ext cx="929337" cy="995875"/>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Univers Condensed" panose="020B0506020202050204" pitchFamily="34" charset="0"/>
              <a:ea typeface="+mn-ea"/>
              <a:cs typeface="+mn-cs"/>
            </a:endParaRPr>
          </a:p>
        </p:txBody>
      </p:sp>
      <p:sp>
        <p:nvSpPr>
          <p:cNvPr id="10" name="Rectangle 9"/>
          <p:cNvSpPr/>
          <p:nvPr userDrawn="1">
            <p:custDataLst>
              <p:tags r:id="rId2"/>
            </p:custDataLst>
          </p:nvPr>
        </p:nvSpPr>
        <p:spPr>
          <a:xfrm>
            <a:off x="2213916" y="4691187"/>
            <a:ext cx="1570152" cy="1468176"/>
          </a:xfrm>
          <a:prstGeom prst="rect">
            <a:avLst/>
          </a:prstGeom>
          <a:noFill/>
          <a:ln w="9525" cmpd="sng">
            <a:solidFill>
              <a:schemeClr val="tx1"/>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Univers Condensed" panose="020B0506020202050204" pitchFamily="34" charset="0"/>
              <a:ea typeface="+mn-ea"/>
              <a:cs typeface="+mn-cs"/>
            </a:endParaRPr>
          </a:p>
        </p:txBody>
      </p:sp>
      <p:sp>
        <p:nvSpPr>
          <p:cNvPr id="11" name="TextBox 10"/>
          <p:cNvSpPr txBox="1"/>
          <p:nvPr userDrawn="1"/>
        </p:nvSpPr>
        <p:spPr>
          <a:xfrm>
            <a:off x="334433" y="907196"/>
            <a:ext cx="3448800" cy="3450336"/>
          </a:xfrm>
          <a:prstGeom prst="rect">
            <a:avLst/>
          </a:prstGeom>
          <a:noFill/>
          <a:ln>
            <a:solidFill>
              <a:schemeClr val="tx1"/>
            </a:solidFill>
          </a:ln>
        </p:spPr>
        <p:txBody>
          <a:bodyPr wrap="square" lIns="612000" tIns="468000" rIns="0" bIns="0" rtlCol="0" anchor="t">
            <a:noAutofit/>
          </a:bodyPr>
          <a:lstStyle/>
          <a:p>
            <a:pPr>
              <a:lnSpc>
                <a:spcPct val="90000"/>
              </a:lnSpc>
              <a:spcAft>
                <a:spcPts val="600"/>
              </a:spcAft>
            </a:pPr>
            <a:endParaRPr lang="en-US" sz="5333" dirty="0">
              <a:solidFill>
                <a:schemeClr val="accent4"/>
              </a:solidFill>
              <a:latin typeface="Univers Condensed" panose="020B0506020202050204" pitchFamily="34" charset="0"/>
              <a:ea typeface="+mn-ea"/>
              <a:cs typeface="+mn-cs"/>
            </a:endParaRPr>
          </a:p>
        </p:txBody>
      </p:sp>
      <p:sp>
        <p:nvSpPr>
          <p:cNvPr id="9" name="TextBox 1"/>
          <p:cNvSpPr txBox="1"/>
          <p:nvPr userDrawn="1"/>
        </p:nvSpPr>
        <p:spPr>
          <a:xfrm>
            <a:off x="903350" y="1115416"/>
            <a:ext cx="2310248" cy="87197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5333" b="1" dirty="0">
                <a:solidFill>
                  <a:schemeClr val="tx1"/>
                </a:solidFill>
                <a:latin typeface="Univers Condensed" panose="020B0506020202050204" pitchFamily="34" charset="0"/>
                <a:ea typeface="+mn-ea"/>
                <a:cs typeface="+mn-cs"/>
              </a:rPr>
              <a:t>Agenda</a:t>
            </a:r>
          </a:p>
        </p:txBody>
      </p:sp>
    </p:spTree>
    <p:extLst>
      <p:ext uri="{BB962C8B-B14F-4D97-AF65-F5344CB8AC3E}">
        <p14:creationId xmlns:p14="http://schemas.microsoft.com/office/powerpoint/2010/main" val="1392466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Univers Condensed" panose="020B0506020202050204" pitchFamily="34" charset="0"/>
              <a:ea typeface="+mn-ea"/>
              <a:cs typeface="+mn-cs"/>
            </a:endParaRPr>
          </a:p>
        </p:txBody>
      </p:sp>
    </p:spTree>
    <p:extLst>
      <p:ext uri="{BB962C8B-B14F-4D97-AF65-F5344CB8AC3E}">
        <p14:creationId xmlns:p14="http://schemas.microsoft.com/office/powerpoint/2010/main" val="21208712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7" name="Title 1"/>
          <p:cNvSpPr txBox="1">
            <a:spLocks/>
          </p:cNvSpPr>
          <p:nvPr userDrawn="1"/>
        </p:nvSpPr>
        <p:spPr>
          <a:xfrm>
            <a:off x="334433" y="622802"/>
            <a:ext cx="7485565" cy="3323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00" b="1" dirty="0">
                <a:solidFill>
                  <a:schemeClr val="tx1"/>
                </a:solidFill>
                <a:latin typeface="Univers Condensed" panose="020B0506020202050204" pitchFamily="34" charset="0"/>
                <a:ea typeface="+mn-ea"/>
                <a:cs typeface="+mn-cs"/>
              </a:rPr>
              <a:t>Agenda</a:t>
            </a:r>
          </a:p>
        </p:txBody>
      </p:sp>
      <p:cxnSp>
        <p:nvCxnSpPr>
          <p:cNvPr id="9" name="Straight Connector 8"/>
          <p:cNvCxnSpPr/>
          <p:nvPr userDrawn="1"/>
        </p:nvCxnSpPr>
        <p:spPr bwMode="white">
          <a:xfrm>
            <a:off x="334436" y="1206000"/>
            <a:ext cx="11860769" cy="0"/>
          </a:xfrm>
          <a:prstGeom prst="line">
            <a:avLst/>
          </a:prstGeom>
          <a:ln w="9525" cmpd="sng">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2456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Univers Condensed" panose="020B0506020202050204" pitchFamily="34" charset="0"/>
              <a:ea typeface="+mn-ea"/>
              <a:cs typeface="+mn-cs"/>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sp>
        <p:nvSpPr>
          <p:cNvPr id="10" name="TextBox 9"/>
          <p:cNvSpPr txBox="1"/>
          <p:nvPr userDrawn="1"/>
        </p:nvSpPr>
        <p:spPr>
          <a:xfrm>
            <a:off x="334435" y="3262147"/>
            <a:ext cx="2604075" cy="498598"/>
          </a:xfrm>
          <a:prstGeom prst="rect">
            <a:avLst/>
          </a:prstGeom>
          <a:noFill/>
        </p:spPr>
        <p:txBody>
          <a:bodyPr wrap="square" lIns="0" tIns="0" rIns="0" bIns="0" rtlCol="0" anchor="t">
            <a:spAutoFit/>
          </a:bodyPr>
          <a:lstStyle/>
          <a:p>
            <a:pPr>
              <a:lnSpc>
                <a:spcPct val="90000"/>
              </a:lnSpc>
              <a:spcAft>
                <a:spcPts val="600"/>
              </a:spcAft>
            </a:pPr>
            <a:r>
              <a:rPr lang="en-US" sz="3600" b="1" dirty="0">
                <a:solidFill>
                  <a:schemeClr val="bg1"/>
                </a:solidFill>
                <a:latin typeface="Univers Condensed" panose="020B0506020202050204" pitchFamily="34" charset="0"/>
                <a:ea typeface="+mn-ea"/>
                <a:cs typeface="+mn-cs"/>
              </a:rPr>
              <a:t>Agenda</a:t>
            </a:r>
            <a:endParaRPr lang="en-US" sz="2800" b="1" dirty="0">
              <a:solidFill>
                <a:schemeClr val="bg1"/>
              </a:solidFill>
              <a:latin typeface="Univers Condensed" panose="020B0506020202050204" pitchFamily="34" charset="0"/>
              <a:ea typeface="+mn-ea"/>
              <a:cs typeface="+mn-cs"/>
            </a:endParaRPr>
          </a:p>
        </p:txBody>
      </p:sp>
      <p:pic>
        <p:nvPicPr>
          <p:cNvPr id="9" name="Immagine 8">
            <a:extLst>
              <a:ext uri="{FF2B5EF4-FFF2-40B4-BE49-F238E27FC236}">
                <a16:creationId xmlns:a16="http://schemas.microsoft.com/office/drawing/2014/main" id="{D05425D2-1888-4155-A6DA-ADB37F60BB0F}"/>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1" name="Slide Number Placeholder 5">
            <a:extLst>
              <a:ext uri="{FF2B5EF4-FFF2-40B4-BE49-F238E27FC236}">
                <a16:creationId xmlns:a16="http://schemas.microsoft.com/office/drawing/2014/main" id="{D8EF095F-0C74-413E-B077-695231D6CEE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189897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Univers Condensed" panose="020B0506020202050204" pitchFamily="34" charset="0"/>
              <a:ea typeface="+mn-ea"/>
              <a:cs typeface="+mn-cs"/>
              <a:sym typeface="Trebuchet MS" panose="020B0603020202020204" pitchFamily="34" charset="0"/>
            </a:endParaRPr>
          </a:p>
        </p:txBody>
      </p:sp>
      <p:sp>
        <p:nvSpPr>
          <p:cNvPr id="20" name="TextBox 19"/>
          <p:cNvSpPr txBox="1"/>
          <p:nvPr userDrawn="1"/>
        </p:nvSpPr>
        <p:spPr>
          <a:xfrm>
            <a:off x="334435" y="2619809"/>
            <a:ext cx="3114967" cy="1678023"/>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333" b="1" dirty="0">
                <a:solidFill>
                  <a:schemeClr val="tx2"/>
                </a:solidFill>
                <a:latin typeface="Univers Condensed" panose="020B0506020202050204" pitchFamily="34" charset="0"/>
                <a:ea typeface="+mn-ea"/>
                <a:cs typeface="+mn-cs"/>
                <a:sym typeface="Trebuchet MS" panose="020B0603020202020204" pitchFamily="34" charset="0"/>
              </a:rPr>
              <a:t>Table of contents</a:t>
            </a:r>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Univers Condensed" panose="020B0506020202050204" pitchFamily="34" charset="0"/>
                <a:ea typeface="+mn-ea"/>
                <a:cs typeface="+mn-cs"/>
                <a:sym typeface="Trebuchet MS" panose="020B0603020202020204" pitchFamily="34" charset="0"/>
              </a:rPr>
              <a:t>Copyright © 2022 by Boston Consulting Group. All rights reserved.</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Immagine 8">
            <a:extLst>
              <a:ext uri="{FF2B5EF4-FFF2-40B4-BE49-F238E27FC236}">
                <a16:creationId xmlns:a16="http://schemas.microsoft.com/office/drawing/2014/main" id="{E3FB160C-3C63-487D-861B-3F0F9BAFFA9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BD1A5B44-9A6F-4630-9755-AD8C0258D8C4}"/>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1580187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9"/>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a:t>Titolo al massimo di tre righe</a:t>
            </a:r>
          </a:p>
        </p:txBody>
      </p:sp>
    </p:spTree>
    <p:extLst>
      <p:ext uri="{BB962C8B-B14F-4D97-AF65-F5344CB8AC3E}">
        <p14:creationId xmlns:p14="http://schemas.microsoft.com/office/powerpoint/2010/main" val="102173753"/>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2809323633"/>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131135495"/>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Pagina vuota BIANCA">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7744044"/>
      </p:ext>
    </p:extLst>
  </p:cSld>
  <p:clrMapOvr>
    <a:overrideClrMapping bg1="lt1" tx1="dk1" bg2="lt2" tx2="dk2" accent1="accent1" accent2="accent2" accent3="accent3" accent4="accent4" accent5="accent5" accent6="accent6" hlink="hlink" folHlink="folHlink"/>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4" y="6297858"/>
            <a:ext cx="367181"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3332597716"/>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96600" y="6263019"/>
            <a:ext cx="897059" cy="402130"/>
          </a:xfrm>
          <a:prstGeom prst="rect">
            <a:avLst/>
          </a:prstGeom>
        </p:spPr>
      </p:pic>
    </p:spTree>
    <p:extLst>
      <p:ext uri="{BB962C8B-B14F-4D97-AF65-F5344CB8AC3E}">
        <p14:creationId xmlns:p14="http://schemas.microsoft.com/office/powerpoint/2010/main" val="1861812476"/>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183645445"/>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lvl1pPr>
              <a:defRPr/>
            </a:lvl1p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Univers Condensed" panose="020B050602020205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1774327002"/>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dirty="0">
                <a:latin typeface="Univers Condensed" panose="020B0506020202050204" pitchFamily="34" charset="0"/>
                <a:cs typeface="Arial" panose="020B0604020202020204" pitchFamily="34" charset="0"/>
              </a:rPr>
            </a:br>
            <a:r>
              <a:rPr lang="it-IT" sz="1600" dirty="0">
                <a:latin typeface="Univers Condensed" panose="020B050602020205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latin typeface="Univers Condensed" panose="020B0506020202050204" pitchFamily="34" charset="0"/>
              </a:rPr>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2867129112"/>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838200" y="677041"/>
            <a:ext cx="10515600" cy="701731"/>
          </a:xfrm>
          <a:noFill/>
        </p:spPr>
        <p:txBody>
          <a:bodyPr wrap="square" rtlCol="0">
            <a:spAutoFit/>
          </a:bodyPr>
          <a:lstStyle>
            <a:lvl1pPr>
              <a:defRPr lang="it-IT"/>
            </a:lvl1pPr>
          </a:lstStyle>
          <a:p>
            <a:pPr lvl="0" algn="l"/>
            <a:r>
              <a:rPr lang="it-IT" dirty="0"/>
              <a:t>Fare clic per modificare stile</a:t>
            </a:r>
          </a:p>
        </p:txBody>
      </p:sp>
      <p:sp>
        <p:nvSpPr>
          <p:cNvPr id="3" name="Segnaposto data 2"/>
          <p:cNvSpPr>
            <a:spLocks noGrp="1"/>
          </p:cNvSpPr>
          <p:nvPr>
            <p:ph type="dt" sz="half" idx="10"/>
          </p:nvPr>
        </p:nvSpPr>
        <p:spPr/>
        <p:txBody>
          <a:bodyPr/>
          <a:lstStyle>
            <a:lvl1pPr>
              <a:defRPr>
                <a:latin typeface="Univers Condensed" panose="020B0506020202050204" pitchFamily="34" charset="0"/>
              </a:defRPr>
            </a:lvl1pPr>
          </a:lstStyle>
          <a:p>
            <a:endParaRPr lang="it-IT"/>
          </a:p>
        </p:txBody>
      </p:sp>
      <p:sp>
        <p:nvSpPr>
          <p:cNvPr id="4" name="Segnaposto piè di pagina 3"/>
          <p:cNvSpPr>
            <a:spLocks noGrp="1"/>
          </p:cNvSpPr>
          <p:nvPr>
            <p:ph type="ftr" sz="quarter" idx="11"/>
          </p:nvPr>
        </p:nvSpPr>
        <p:spPr/>
        <p:txBody>
          <a:bodyPr/>
          <a:lstStyle>
            <a:lvl1pPr>
              <a:defRPr>
                <a:latin typeface="Univers Condensed" panose="020B0506020202050204" pitchFamily="34" charset="0"/>
              </a:defRPr>
            </a:lvl1pPr>
          </a:lstStyle>
          <a:p>
            <a:endParaRPr lang="it-IT"/>
          </a:p>
        </p:txBody>
      </p:sp>
      <p:sp>
        <p:nvSpPr>
          <p:cNvPr id="5" name="Segnaposto numero diapositiva 4"/>
          <p:cNvSpPr>
            <a:spLocks noGrp="1"/>
          </p:cNvSpPr>
          <p:nvPr>
            <p:ph type="sldNum" sz="quarter" idx="12"/>
          </p:nvPr>
        </p:nvSpPr>
        <p:spPr/>
        <p:txBody>
          <a:bodyPr/>
          <a:lstStyle>
            <a:lvl1pPr>
              <a:defRPr/>
            </a:lvl1pPr>
          </a:lstStyle>
          <a:p>
            <a:fld id="{2FC0DA8F-5333-404C-B1A3-89924F4629AA}" type="slidenum">
              <a:rPr lang="it-IT" smtClean="0"/>
              <a:pPr/>
              <a:t>‹N›</a:t>
            </a:fld>
            <a:endParaRPr lang="it-IT" dirty="0"/>
          </a:p>
        </p:txBody>
      </p:sp>
      <p:cxnSp>
        <p:nvCxnSpPr>
          <p:cNvPr id="10" name="Connettore 1 9"/>
          <p:cNvCxnSpPr/>
          <p:nvPr userDrawn="1"/>
        </p:nvCxnSpPr>
        <p:spPr>
          <a:xfrm>
            <a:off x="0" y="1220755"/>
            <a:ext cx="12192000" cy="0"/>
          </a:xfrm>
          <a:prstGeom prst="line">
            <a:avLst/>
          </a:prstGeom>
          <a:ln w="6350" cmpd="sng">
            <a:gradFill flip="none" rotWithShape="1">
              <a:gsLst>
                <a:gs pos="51000">
                  <a:schemeClr val="accent5"/>
                </a:gs>
                <a:gs pos="100000">
                  <a:schemeClr val="accent6"/>
                </a:gs>
                <a:gs pos="0">
                  <a:schemeClr val="accent6"/>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244767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1_Intestazione CERCHI">
    <p:spTree>
      <p:nvGrpSpPr>
        <p:cNvPr id="1" name=""/>
        <p:cNvGrpSpPr/>
        <p:nvPr/>
      </p:nvGrpSpPr>
      <p:grpSpPr>
        <a:xfrm>
          <a:off x="0" y="0"/>
          <a:ext cx="0" cy="0"/>
          <a:chOff x="0" y="0"/>
          <a:chExt cx="0" cy="0"/>
        </a:xfrm>
      </p:grpSpPr>
      <p:pic>
        <p:nvPicPr>
          <p:cNvPr id="4" name="Immagine 5"/>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2700"/>
            <a:ext cx="2592917" cy="88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ottotitolo 2"/>
          <p:cNvSpPr>
            <a:spLocks noGrp="1"/>
          </p:cNvSpPr>
          <p:nvPr>
            <p:ph type="subTitle" idx="1"/>
          </p:nvPr>
        </p:nvSpPr>
        <p:spPr>
          <a:xfrm>
            <a:off x="2987969" y="3464911"/>
            <a:ext cx="6288075" cy="697627"/>
          </a:xfrm>
        </p:spPr>
        <p:txBody>
          <a:bodyPr/>
          <a:lstStyle>
            <a:lvl1pPr marL="0" indent="0" algn="l">
              <a:buNone/>
              <a:defRPr sz="1867">
                <a:solidFill>
                  <a:schemeClr val="accent3"/>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it-IT" dirty="0"/>
              <a:t>Fare clic per modificare lo stile del sottotitolo dello schema</a:t>
            </a:r>
          </a:p>
        </p:txBody>
      </p:sp>
      <p:sp>
        <p:nvSpPr>
          <p:cNvPr id="9" name="Titolo 8"/>
          <p:cNvSpPr>
            <a:spLocks noGrp="1"/>
          </p:cNvSpPr>
          <p:nvPr>
            <p:ph type="title"/>
          </p:nvPr>
        </p:nvSpPr>
        <p:spPr>
          <a:xfrm>
            <a:off x="2987969" y="2792836"/>
            <a:ext cx="6288075" cy="533480"/>
          </a:xfrm>
        </p:spPr>
        <p:txBody>
          <a:bodyPr/>
          <a:lstStyle>
            <a:lvl1pPr algn="l">
              <a:defRPr sz="2667">
                <a:solidFill>
                  <a:schemeClr val="accent2"/>
                </a:solidFill>
              </a:defRPr>
            </a:lvl1pPr>
          </a:lstStyle>
          <a:p>
            <a:r>
              <a:rPr lang="it-IT" dirty="0"/>
              <a:t>Fare clic per modificare stile</a:t>
            </a:r>
          </a:p>
        </p:txBody>
      </p:sp>
    </p:spTree>
    <p:extLst>
      <p:ext uri="{BB962C8B-B14F-4D97-AF65-F5344CB8AC3E}">
        <p14:creationId xmlns:p14="http://schemas.microsoft.com/office/powerpoint/2010/main" val="1406302245"/>
      </p:ext>
    </p:extLst>
  </p:cSld>
  <p:clrMapOvr>
    <a:overrideClrMapping bg1="lt1" tx1="dk1" bg2="lt2" tx2="dk2" accent1="accent1" accent2="accent2" accent3="accent3" accent4="accent4" accent5="accent5" accent6="accent6" hlink="hlink" folHlink="folHlink"/>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userDrawn="1">
  <p:cSld name="Pagina vuota BIANCA">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8740584"/>
      </p:ext>
    </p:extLst>
  </p:cSld>
  <p:clrMapOvr>
    <a:overrideClrMapping bg1="lt1" tx1="dk1" bg2="lt2" tx2="dk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2BDFEE7-2DC8-1043-9CA6-E9A7F5CA8932}"/>
              </a:ext>
            </a:extLst>
          </p:cNvPr>
          <p:cNvSpPr>
            <a:spLocks noGrp="1"/>
          </p:cNvSpPr>
          <p:nvPr>
            <p:ph type="ctrTitle"/>
          </p:nvPr>
        </p:nvSpPr>
        <p:spPr>
          <a:xfrm>
            <a:off x="1524000" y="1122363"/>
            <a:ext cx="9144000" cy="2387600"/>
          </a:xfrm>
        </p:spPr>
        <p:txBody>
          <a:bodyPr anchor="b"/>
          <a:lstStyle>
            <a:lvl1pPr algn="ctr">
              <a:defRPr sz="6000"/>
            </a:lvl1pPr>
          </a:lstStyle>
          <a:p>
            <a:r>
              <a:rPr lang="it-IT" dirty="0"/>
              <a:t>Fare clic per modificare lo stile del titolo dello schema</a:t>
            </a:r>
          </a:p>
        </p:txBody>
      </p:sp>
      <p:sp>
        <p:nvSpPr>
          <p:cNvPr id="3" name="Sottotitolo 2">
            <a:extLst>
              <a:ext uri="{FF2B5EF4-FFF2-40B4-BE49-F238E27FC236}">
                <a16:creationId xmlns:a16="http://schemas.microsoft.com/office/drawing/2014/main" id="{341D5D76-D932-364D-A555-59C863709E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dirty="0"/>
              <a:t>Fare clic per modificare lo stile del sottotitolo dello schema</a:t>
            </a:r>
          </a:p>
        </p:txBody>
      </p:sp>
      <p:sp>
        <p:nvSpPr>
          <p:cNvPr id="4" name="Segnaposto data 3">
            <a:extLst>
              <a:ext uri="{FF2B5EF4-FFF2-40B4-BE49-F238E27FC236}">
                <a16:creationId xmlns:a16="http://schemas.microsoft.com/office/drawing/2014/main" id="{92D01014-8590-F340-BD77-67A880FB79CB}"/>
              </a:ext>
            </a:extLst>
          </p:cNvPr>
          <p:cNvSpPr>
            <a:spLocks noGrp="1"/>
          </p:cNvSpPr>
          <p:nvPr>
            <p:ph type="dt" sz="half" idx="10"/>
          </p:nvPr>
        </p:nvSpPr>
        <p:spPr/>
        <p:txBody>
          <a:bodyPr/>
          <a:lstStyle>
            <a:lvl1pPr>
              <a:defRPr>
                <a:latin typeface="Univers Condensed" panose="020B0506020202050204" pitchFamily="34" charset="0"/>
              </a:defRPr>
            </a:lvl1pPr>
          </a:lstStyle>
          <a:p>
            <a:endParaRPr lang="it-IT"/>
          </a:p>
        </p:txBody>
      </p:sp>
      <p:sp>
        <p:nvSpPr>
          <p:cNvPr id="5" name="Segnaposto piè di pagina 4">
            <a:extLst>
              <a:ext uri="{FF2B5EF4-FFF2-40B4-BE49-F238E27FC236}">
                <a16:creationId xmlns:a16="http://schemas.microsoft.com/office/drawing/2014/main" id="{C512E87E-82CC-BF47-BE0B-FD0E12607193}"/>
              </a:ext>
            </a:extLst>
          </p:cNvPr>
          <p:cNvSpPr>
            <a:spLocks noGrp="1"/>
          </p:cNvSpPr>
          <p:nvPr>
            <p:ph type="ftr" sz="quarter" idx="11"/>
          </p:nvPr>
        </p:nvSpPr>
        <p:spPr/>
        <p:txBody>
          <a:bodyPr/>
          <a:lstStyle>
            <a:lvl1pPr>
              <a:defRPr>
                <a:latin typeface="Univers Condensed" panose="020B0506020202050204" pitchFamily="34" charset="0"/>
              </a:defRPr>
            </a:lvl1pPr>
          </a:lstStyle>
          <a:p>
            <a:endParaRPr lang="it-IT"/>
          </a:p>
        </p:txBody>
      </p:sp>
      <p:sp>
        <p:nvSpPr>
          <p:cNvPr id="6" name="Segnaposto numero diapositiva 5">
            <a:extLst>
              <a:ext uri="{FF2B5EF4-FFF2-40B4-BE49-F238E27FC236}">
                <a16:creationId xmlns:a16="http://schemas.microsoft.com/office/drawing/2014/main" id="{11C107C3-5783-674D-8AC9-CF9DB2996492}"/>
              </a:ext>
            </a:extLst>
          </p:cNvPr>
          <p:cNvSpPr>
            <a:spLocks noGrp="1"/>
          </p:cNvSpPr>
          <p:nvPr>
            <p:ph type="sldNum" sz="quarter" idx="12"/>
          </p:nvPr>
        </p:nvSpPr>
        <p:spPr/>
        <p:txBody>
          <a:bodyPr/>
          <a:lstStyle>
            <a:lvl1pPr>
              <a:defRPr/>
            </a:lvl1pPr>
          </a:lstStyle>
          <a:p>
            <a:fld id="{0F70019E-2196-5449-A018-3CCD7DF09CE0}" type="slidenum">
              <a:rPr lang="it-IT" smtClean="0"/>
              <a:pPr/>
              <a:t>‹N›</a:t>
            </a:fld>
            <a:endParaRPr lang="it-IT" dirty="0"/>
          </a:p>
        </p:txBody>
      </p:sp>
    </p:spTree>
    <p:extLst>
      <p:ext uri="{BB962C8B-B14F-4D97-AF65-F5344CB8AC3E}">
        <p14:creationId xmlns:p14="http://schemas.microsoft.com/office/powerpoint/2010/main" val="317799537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Univers Condensed" panose="020B0506020202050204" pitchFamily="34" charset="0"/>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Univers Condensed" panose="020B0506020202050204" pitchFamily="34" charset="0"/>
                <a:ea typeface="+mn-ea"/>
                <a:cs typeface="+mn-cs"/>
              </a:defRPr>
            </a:lvl1pPr>
          </a:lstStyle>
          <a:p>
            <a:pPr lvl="0">
              <a:buNone/>
            </a:pPr>
            <a:r>
              <a:rPr lang="en-US" dirty="0"/>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Univers Condensed" panose="020B0506020202050204" pitchFamily="34" charset="0"/>
                <a:ea typeface="+mj-ea"/>
                <a:cs typeface="+mj-cs"/>
              </a:defRPr>
            </a:lvl1pPr>
          </a:lstStyle>
          <a:p>
            <a:pPr marL="0" lvl="0" indent="0">
              <a:lnSpc>
                <a:spcPct val="110000"/>
              </a:lnSpc>
              <a:spcBef>
                <a:spcPts val="600"/>
              </a:spcBef>
              <a:spcAft>
                <a:spcPts val="300"/>
              </a:spcAft>
              <a:buFont typeface="Arial" panose="020B0604020202020204" pitchFamily="34" charset="0"/>
            </a:pPr>
            <a:r>
              <a:rPr lang="en-US" dirty="0"/>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10375900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slideLayout" Target="../slideLayouts/slideLayout40.xml"/><Relationship Id="rId39" Type="http://schemas.openxmlformats.org/officeDocument/2006/relationships/slideLayout" Target="../slideLayouts/slideLayout53.xml"/><Relationship Id="rId21" Type="http://schemas.openxmlformats.org/officeDocument/2006/relationships/slideLayout" Target="../slideLayouts/slideLayout35.xml"/><Relationship Id="rId34" Type="http://schemas.openxmlformats.org/officeDocument/2006/relationships/slideLayout" Target="../slideLayouts/slideLayout48.xml"/><Relationship Id="rId42" Type="http://schemas.openxmlformats.org/officeDocument/2006/relationships/slideLayout" Target="../slideLayouts/slideLayout56.xml"/><Relationship Id="rId47" Type="http://schemas.openxmlformats.org/officeDocument/2006/relationships/slideLayout" Target="../slideLayouts/slideLayout61.xml"/><Relationship Id="rId50" Type="http://schemas.openxmlformats.org/officeDocument/2006/relationships/slideLayout" Target="../slideLayouts/slideLayout64.xml"/><Relationship Id="rId55" Type="http://schemas.openxmlformats.org/officeDocument/2006/relationships/slideLayout" Target="../slideLayouts/slideLayout69.xml"/><Relationship Id="rId63" Type="http://schemas.openxmlformats.org/officeDocument/2006/relationships/slideLayout" Target="../slideLayouts/slideLayout77.xml"/><Relationship Id="rId68" Type="http://schemas.openxmlformats.org/officeDocument/2006/relationships/slideLayout" Target="../slideLayouts/slideLayout82.xml"/><Relationship Id="rId76" Type="http://schemas.openxmlformats.org/officeDocument/2006/relationships/oleObject" Target="../embeddings/oleObject2.bin"/><Relationship Id="rId7" Type="http://schemas.openxmlformats.org/officeDocument/2006/relationships/slideLayout" Target="../slideLayouts/slideLayout21.xml"/><Relationship Id="rId71" Type="http://schemas.openxmlformats.org/officeDocument/2006/relationships/slideLayout" Target="../slideLayouts/slideLayout85.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9" Type="http://schemas.openxmlformats.org/officeDocument/2006/relationships/slideLayout" Target="../slideLayouts/slideLayout43.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32" Type="http://schemas.openxmlformats.org/officeDocument/2006/relationships/slideLayout" Target="../slideLayouts/slideLayout46.xml"/><Relationship Id="rId37" Type="http://schemas.openxmlformats.org/officeDocument/2006/relationships/slideLayout" Target="../slideLayouts/slideLayout51.xml"/><Relationship Id="rId40" Type="http://schemas.openxmlformats.org/officeDocument/2006/relationships/slideLayout" Target="../slideLayouts/slideLayout54.xml"/><Relationship Id="rId45" Type="http://schemas.openxmlformats.org/officeDocument/2006/relationships/slideLayout" Target="../slideLayouts/slideLayout59.xml"/><Relationship Id="rId53" Type="http://schemas.openxmlformats.org/officeDocument/2006/relationships/slideLayout" Target="../slideLayouts/slideLayout67.xml"/><Relationship Id="rId58" Type="http://schemas.openxmlformats.org/officeDocument/2006/relationships/slideLayout" Target="../slideLayouts/slideLayout72.xml"/><Relationship Id="rId66" Type="http://schemas.openxmlformats.org/officeDocument/2006/relationships/slideLayout" Target="../slideLayouts/slideLayout80.xml"/><Relationship Id="rId74" Type="http://schemas.openxmlformats.org/officeDocument/2006/relationships/theme" Target="../theme/theme2.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slideLayout" Target="../slideLayouts/slideLayout42.xml"/><Relationship Id="rId36" Type="http://schemas.openxmlformats.org/officeDocument/2006/relationships/slideLayout" Target="../slideLayouts/slideLayout50.xml"/><Relationship Id="rId49" Type="http://schemas.openxmlformats.org/officeDocument/2006/relationships/slideLayout" Target="../slideLayouts/slideLayout63.xml"/><Relationship Id="rId57" Type="http://schemas.openxmlformats.org/officeDocument/2006/relationships/slideLayout" Target="../slideLayouts/slideLayout71.xml"/><Relationship Id="rId61" Type="http://schemas.openxmlformats.org/officeDocument/2006/relationships/slideLayout" Target="../slideLayouts/slideLayout75.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31" Type="http://schemas.openxmlformats.org/officeDocument/2006/relationships/slideLayout" Target="../slideLayouts/slideLayout45.xml"/><Relationship Id="rId44" Type="http://schemas.openxmlformats.org/officeDocument/2006/relationships/slideLayout" Target="../slideLayouts/slideLayout58.xml"/><Relationship Id="rId52" Type="http://schemas.openxmlformats.org/officeDocument/2006/relationships/slideLayout" Target="../slideLayouts/slideLayout66.xml"/><Relationship Id="rId60" Type="http://schemas.openxmlformats.org/officeDocument/2006/relationships/slideLayout" Target="../slideLayouts/slideLayout74.xml"/><Relationship Id="rId65" Type="http://schemas.openxmlformats.org/officeDocument/2006/relationships/slideLayout" Target="../slideLayouts/slideLayout79.xml"/><Relationship Id="rId73" Type="http://schemas.openxmlformats.org/officeDocument/2006/relationships/slideLayout" Target="../slideLayouts/slideLayout87.xml"/><Relationship Id="rId78" Type="http://schemas.openxmlformats.org/officeDocument/2006/relationships/image" Target="../media/image6.png"/><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 Id="rId30" Type="http://schemas.openxmlformats.org/officeDocument/2006/relationships/slideLayout" Target="../slideLayouts/slideLayout44.xml"/><Relationship Id="rId35" Type="http://schemas.openxmlformats.org/officeDocument/2006/relationships/slideLayout" Target="../slideLayouts/slideLayout49.xml"/><Relationship Id="rId43" Type="http://schemas.openxmlformats.org/officeDocument/2006/relationships/slideLayout" Target="../slideLayouts/slideLayout57.xml"/><Relationship Id="rId48" Type="http://schemas.openxmlformats.org/officeDocument/2006/relationships/slideLayout" Target="../slideLayouts/slideLayout62.xml"/><Relationship Id="rId56" Type="http://schemas.openxmlformats.org/officeDocument/2006/relationships/slideLayout" Target="../slideLayouts/slideLayout70.xml"/><Relationship Id="rId64" Type="http://schemas.openxmlformats.org/officeDocument/2006/relationships/slideLayout" Target="../slideLayouts/slideLayout78.xml"/><Relationship Id="rId69" Type="http://schemas.openxmlformats.org/officeDocument/2006/relationships/slideLayout" Target="../slideLayouts/slideLayout83.xml"/><Relationship Id="rId77" Type="http://schemas.openxmlformats.org/officeDocument/2006/relationships/image" Target="../media/image7.emf"/><Relationship Id="rId8" Type="http://schemas.openxmlformats.org/officeDocument/2006/relationships/slideLayout" Target="../slideLayouts/slideLayout22.xml"/><Relationship Id="rId51" Type="http://schemas.openxmlformats.org/officeDocument/2006/relationships/slideLayout" Target="../slideLayouts/slideLayout65.xml"/><Relationship Id="rId72" Type="http://schemas.openxmlformats.org/officeDocument/2006/relationships/slideLayout" Target="../slideLayouts/slideLayout86.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33" Type="http://schemas.openxmlformats.org/officeDocument/2006/relationships/slideLayout" Target="../slideLayouts/slideLayout47.xml"/><Relationship Id="rId38" Type="http://schemas.openxmlformats.org/officeDocument/2006/relationships/slideLayout" Target="../slideLayouts/slideLayout52.xml"/><Relationship Id="rId46" Type="http://schemas.openxmlformats.org/officeDocument/2006/relationships/slideLayout" Target="../slideLayouts/slideLayout60.xml"/><Relationship Id="rId59" Type="http://schemas.openxmlformats.org/officeDocument/2006/relationships/slideLayout" Target="../slideLayouts/slideLayout73.xml"/><Relationship Id="rId67" Type="http://schemas.openxmlformats.org/officeDocument/2006/relationships/slideLayout" Target="../slideLayouts/slideLayout81.xml"/><Relationship Id="rId20" Type="http://schemas.openxmlformats.org/officeDocument/2006/relationships/slideLayout" Target="../slideLayouts/slideLayout34.xml"/><Relationship Id="rId41" Type="http://schemas.openxmlformats.org/officeDocument/2006/relationships/slideLayout" Target="../slideLayouts/slideLayout55.xml"/><Relationship Id="rId54" Type="http://schemas.openxmlformats.org/officeDocument/2006/relationships/slideLayout" Target="../slideLayouts/slideLayout68.xml"/><Relationship Id="rId62" Type="http://schemas.openxmlformats.org/officeDocument/2006/relationships/slideLayout" Target="../slideLayouts/slideLayout76.xml"/><Relationship Id="rId70" Type="http://schemas.openxmlformats.org/officeDocument/2006/relationships/slideLayout" Target="../slideLayouts/slideLayout84.xml"/><Relationship Id="rId75" Type="http://schemas.openxmlformats.org/officeDocument/2006/relationships/tags" Target="../tags/tag3.xml"/><Relationship Id="rId1" Type="http://schemas.openxmlformats.org/officeDocument/2006/relationships/slideLayout" Target="../slideLayouts/slideLayout15.xml"/><Relationship Id="rId6"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0" Type="http://schemas.openxmlformats.org/officeDocument/2006/relationships/slideLayout" Target="../slideLayouts/slideLayout97.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2" Type="http://schemas.openxmlformats.org/officeDocument/2006/relationships/slideLayout" Target="../slideLayouts/slideLayout102.xml"/><Relationship Id="rId16" Type="http://schemas.openxmlformats.org/officeDocument/2006/relationships/theme" Target="../theme/theme4.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10" Type="http://schemas.openxmlformats.org/officeDocument/2006/relationships/slideLayout" Target="../slideLayouts/slideLayout110.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2" Type="http://schemas.openxmlformats.org/officeDocument/2006/relationships/slideLayout" Target="../slideLayouts/slideLayout11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5" Type="http://schemas.openxmlformats.org/officeDocument/2006/relationships/theme" Target="../theme/theme5.xml"/><Relationship Id="rId10" Type="http://schemas.openxmlformats.org/officeDocument/2006/relationships/slideLayout" Target="../slideLayouts/slideLayout125.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26" Type="http://schemas.openxmlformats.org/officeDocument/2006/relationships/slideLayout" Target="../slideLayouts/slideLayout155.xml"/><Relationship Id="rId39" Type="http://schemas.openxmlformats.org/officeDocument/2006/relationships/slideLayout" Target="../slideLayouts/slideLayout168.xml"/><Relationship Id="rId21" Type="http://schemas.openxmlformats.org/officeDocument/2006/relationships/slideLayout" Target="../slideLayouts/slideLayout150.xml"/><Relationship Id="rId34" Type="http://schemas.openxmlformats.org/officeDocument/2006/relationships/slideLayout" Target="../slideLayouts/slideLayout163.xml"/><Relationship Id="rId42" Type="http://schemas.openxmlformats.org/officeDocument/2006/relationships/slideLayout" Target="../slideLayouts/slideLayout171.xml"/><Relationship Id="rId47" Type="http://schemas.openxmlformats.org/officeDocument/2006/relationships/slideLayout" Target="../slideLayouts/slideLayout176.xml"/><Relationship Id="rId50" Type="http://schemas.openxmlformats.org/officeDocument/2006/relationships/slideLayout" Target="../slideLayouts/slideLayout179.xml"/><Relationship Id="rId55" Type="http://schemas.openxmlformats.org/officeDocument/2006/relationships/slideLayout" Target="../slideLayouts/slideLayout184.xml"/><Relationship Id="rId63" Type="http://schemas.openxmlformats.org/officeDocument/2006/relationships/slideLayout" Target="../slideLayouts/slideLayout192.xml"/><Relationship Id="rId68" Type="http://schemas.openxmlformats.org/officeDocument/2006/relationships/slideLayout" Target="../slideLayouts/slideLayout197.xml"/><Relationship Id="rId76" Type="http://schemas.openxmlformats.org/officeDocument/2006/relationships/oleObject" Target="../embeddings/oleObject74.bin"/><Relationship Id="rId7" Type="http://schemas.openxmlformats.org/officeDocument/2006/relationships/slideLayout" Target="../slideLayouts/slideLayout136.xml"/><Relationship Id="rId71" Type="http://schemas.openxmlformats.org/officeDocument/2006/relationships/slideLayout" Target="../slideLayouts/slideLayout200.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9" Type="http://schemas.openxmlformats.org/officeDocument/2006/relationships/slideLayout" Target="../slideLayouts/slideLayout158.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32" Type="http://schemas.openxmlformats.org/officeDocument/2006/relationships/slideLayout" Target="../slideLayouts/slideLayout161.xml"/><Relationship Id="rId37" Type="http://schemas.openxmlformats.org/officeDocument/2006/relationships/slideLayout" Target="../slideLayouts/slideLayout166.xml"/><Relationship Id="rId40" Type="http://schemas.openxmlformats.org/officeDocument/2006/relationships/slideLayout" Target="../slideLayouts/slideLayout169.xml"/><Relationship Id="rId45" Type="http://schemas.openxmlformats.org/officeDocument/2006/relationships/slideLayout" Target="../slideLayouts/slideLayout174.xml"/><Relationship Id="rId53" Type="http://schemas.openxmlformats.org/officeDocument/2006/relationships/slideLayout" Target="../slideLayouts/slideLayout182.xml"/><Relationship Id="rId58" Type="http://schemas.openxmlformats.org/officeDocument/2006/relationships/slideLayout" Target="../slideLayouts/slideLayout187.xml"/><Relationship Id="rId66" Type="http://schemas.openxmlformats.org/officeDocument/2006/relationships/slideLayout" Target="../slideLayouts/slideLayout195.xml"/><Relationship Id="rId74" Type="http://schemas.openxmlformats.org/officeDocument/2006/relationships/theme" Target="../theme/theme6.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28" Type="http://schemas.openxmlformats.org/officeDocument/2006/relationships/slideLayout" Target="../slideLayouts/slideLayout157.xml"/><Relationship Id="rId36" Type="http://schemas.openxmlformats.org/officeDocument/2006/relationships/slideLayout" Target="../slideLayouts/slideLayout165.xml"/><Relationship Id="rId49" Type="http://schemas.openxmlformats.org/officeDocument/2006/relationships/slideLayout" Target="../slideLayouts/slideLayout178.xml"/><Relationship Id="rId57" Type="http://schemas.openxmlformats.org/officeDocument/2006/relationships/slideLayout" Target="../slideLayouts/slideLayout186.xml"/><Relationship Id="rId61" Type="http://schemas.openxmlformats.org/officeDocument/2006/relationships/slideLayout" Target="../slideLayouts/slideLayout190.xml"/><Relationship Id="rId10" Type="http://schemas.openxmlformats.org/officeDocument/2006/relationships/slideLayout" Target="../slideLayouts/slideLayout139.xml"/><Relationship Id="rId19" Type="http://schemas.openxmlformats.org/officeDocument/2006/relationships/slideLayout" Target="../slideLayouts/slideLayout148.xml"/><Relationship Id="rId31" Type="http://schemas.openxmlformats.org/officeDocument/2006/relationships/slideLayout" Target="../slideLayouts/slideLayout160.xml"/><Relationship Id="rId44" Type="http://schemas.openxmlformats.org/officeDocument/2006/relationships/slideLayout" Target="../slideLayouts/slideLayout173.xml"/><Relationship Id="rId52" Type="http://schemas.openxmlformats.org/officeDocument/2006/relationships/slideLayout" Target="../slideLayouts/slideLayout181.xml"/><Relationship Id="rId60" Type="http://schemas.openxmlformats.org/officeDocument/2006/relationships/slideLayout" Target="../slideLayouts/slideLayout189.xml"/><Relationship Id="rId65" Type="http://schemas.openxmlformats.org/officeDocument/2006/relationships/slideLayout" Target="../slideLayouts/slideLayout194.xml"/><Relationship Id="rId73" Type="http://schemas.openxmlformats.org/officeDocument/2006/relationships/slideLayout" Target="../slideLayouts/slideLayout202.xml"/><Relationship Id="rId78" Type="http://schemas.openxmlformats.org/officeDocument/2006/relationships/image" Target="../media/image6.png"/><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 Id="rId27" Type="http://schemas.openxmlformats.org/officeDocument/2006/relationships/slideLayout" Target="../slideLayouts/slideLayout156.xml"/><Relationship Id="rId30" Type="http://schemas.openxmlformats.org/officeDocument/2006/relationships/slideLayout" Target="../slideLayouts/slideLayout159.xml"/><Relationship Id="rId35" Type="http://schemas.openxmlformats.org/officeDocument/2006/relationships/slideLayout" Target="../slideLayouts/slideLayout164.xml"/><Relationship Id="rId43" Type="http://schemas.openxmlformats.org/officeDocument/2006/relationships/slideLayout" Target="../slideLayouts/slideLayout172.xml"/><Relationship Id="rId48" Type="http://schemas.openxmlformats.org/officeDocument/2006/relationships/slideLayout" Target="../slideLayouts/slideLayout177.xml"/><Relationship Id="rId56" Type="http://schemas.openxmlformats.org/officeDocument/2006/relationships/slideLayout" Target="../slideLayouts/slideLayout185.xml"/><Relationship Id="rId64" Type="http://schemas.openxmlformats.org/officeDocument/2006/relationships/slideLayout" Target="../slideLayouts/slideLayout193.xml"/><Relationship Id="rId69" Type="http://schemas.openxmlformats.org/officeDocument/2006/relationships/slideLayout" Target="../slideLayouts/slideLayout198.xml"/><Relationship Id="rId77" Type="http://schemas.openxmlformats.org/officeDocument/2006/relationships/image" Target="../media/image7.emf"/><Relationship Id="rId8" Type="http://schemas.openxmlformats.org/officeDocument/2006/relationships/slideLayout" Target="../slideLayouts/slideLayout137.xml"/><Relationship Id="rId51" Type="http://schemas.openxmlformats.org/officeDocument/2006/relationships/slideLayout" Target="../slideLayouts/slideLayout180.xml"/><Relationship Id="rId72" Type="http://schemas.openxmlformats.org/officeDocument/2006/relationships/slideLayout" Target="../slideLayouts/slideLayout201.xml"/><Relationship Id="rId3" Type="http://schemas.openxmlformats.org/officeDocument/2006/relationships/slideLayout" Target="../slideLayouts/slideLayout132.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slideLayout" Target="../slideLayouts/slideLayout154.xml"/><Relationship Id="rId33" Type="http://schemas.openxmlformats.org/officeDocument/2006/relationships/slideLayout" Target="../slideLayouts/slideLayout162.xml"/><Relationship Id="rId38" Type="http://schemas.openxmlformats.org/officeDocument/2006/relationships/slideLayout" Target="../slideLayouts/slideLayout167.xml"/><Relationship Id="rId46" Type="http://schemas.openxmlformats.org/officeDocument/2006/relationships/slideLayout" Target="../slideLayouts/slideLayout175.xml"/><Relationship Id="rId59" Type="http://schemas.openxmlformats.org/officeDocument/2006/relationships/slideLayout" Target="../slideLayouts/slideLayout188.xml"/><Relationship Id="rId67" Type="http://schemas.openxmlformats.org/officeDocument/2006/relationships/slideLayout" Target="../slideLayouts/slideLayout196.xml"/><Relationship Id="rId20" Type="http://schemas.openxmlformats.org/officeDocument/2006/relationships/slideLayout" Target="../slideLayouts/slideLayout149.xml"/><Relationship Id="rId41" Type="http://schemas.openxmlformats.org/officeDocument/2006/relationships/slideLayout" Target="../slideLayouts/slideLayout170.xml"/><Relationship Id="rId54" Type="http://schemas.openxmlformats.org/officeDocument/2006/relationships/slideLayout" Target="../slideLayouts/slideLayout183.xml"/><Relationship Id="rId62" Type="http://schemas.openxmlformats.org/officeDocument/2006/relationships/slideLayout" Target="../slideLayouts/slideLayout191.xml"/><Relationship Id="rId70" Type="http://schemas.openxmlformats.org/officeDocument/2006/relationships/slideLayout" Target="../slideLayouts/slideLayout199.xml"/><Relationship Id="rId75" Type="http://schemas.openxmlformats.org/officeDocument/2006/relationships/tags" Target="../tags/tag86.xml"/><Relationship Id="rId1" Type="http://schemas.openxmlformats.org/officeDocument/2006/relationships/slideLayout" Target="../slideLayouts/slideLayout130.xml"/><Relationship Id="rId6" Type="http://schemas.openxmlformats.org/officeDocument/2006/relationships/slideLayout" Target="../slideLayouts/slideLayout135.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205.xml"/><Relationship Id="rId7" Type="http://schemas.openxmlformats.org/officeDocument/2006/relationships/slideLayout" Target="../slideLayouts/slideLayout209.xml"/><Relationship Id="rId2" Type="http://schemas.openxmlformats.org/officeDocument/2006/relationships/slideLayout" Target="../slideLayouts/slideLayout204.xml"/><Relationship Id="rId1" Type="http://schemas.openxmlformats.org/officeDocument/2006/relationships/slideLayout" Target="../slideLayouts/slideLayout203.xml"/><Relationship Id="rId6" Type="http://schemas.openxmlformats.org/officeDocument/2006/relationships/slideLayout" Target="../slideLayouts/slideLayout208.xml"/><Relationship Id="rId5" Type="http://schemas.openxmlformats.org/officeDocument/2006/relationships/slideLayout" Target="../slideLayouts/slideLayout207.xml"/><Relationship Id="rId4" Type="http://schemas.openxmlformats.org/officeDocument/2006/relationships/slideLayout" Target="../slideLayouts/slideLayout20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slideLayout" Target="../slideLayouts/slideLayout222.xml"/><Relationship Id="rId3" Type="http://schemas.openxmlformats.org/officeDocument/2006/relationships/slideLayout" Target="../slideLayouts/slideLayout212.xml"/><Relationship Id="rId7" Type="http://schemas.openxmlformats.org/officeDocument/2006/relationships/slideLayout" Target="../slideLayouts/slideLayout216.xml"/><Relationship Id="rId12" Type="http://schemas.openxmlformats.org/officeDocument/2006/relationships/slideLayout" Target="../slideLayouts/slideLayout221.xml"/><Relationship Id="rId2" Type="http://schemas.openxmlformats.org/officeDocument/2006/relationships/slideLayout" Target="../slideLayouts/slideLayout211.xml"/><Relationship Id="rId16" Type="http://schemas.openxmlformats.org/officeDocument/2006/relationships/theme" Target="../theme/theme8.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5" Type="http://schemas.openxmlformats.org/officeDocument/2006/relationships/slideLayout" Target="../slideLayouts/slideLayout214.xml"/><Relationship Id="rId15" Type="http://schemas.openxmlformats.org/officeDocument/2006/relationships/slideLayout" Target="../slideLayouts/slideLayout224.xml"/><Relationship Id="rId10" Type="http://schemas.openxmlformats.org/officeDocument/2006/relationships/slideLayout" Target="../slideLayouts/slideLayout219.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slideLayout" Target="../slideLayouts/slideLayout2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1856922710"/>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6" r:id="rId8"/>
    <p:sldLayoutId id="2147483707" r:id="rId9"/>
    <p:sldLayoutId id="2147483708" r:id="rId10"/>
    <p:sldLayoutId id="2147483709" r:id="rId11"/>
    <p:sldLayoutId id="2147483710" r:id="rId12"/>
    <p:sldLayoutId id="2147483664" r:id="rId13"/>
    <p:sldLayoutId id="2147483913" r:id="rId14"/>
  </p:sldLayoutIdLst>
  <p:hf hdr="0" ftr="0" dt="0"/>
  <p:txStyles>
    <p:titleStyle>
      <a:lvl1pPr algn="l" defTabSz="914377" rtl="0" eaLnBrk="1" latinLnBrk="0" hangingPunct="1">
        <a:lnSpc>
          <a:spcPct val="90000"/>
        </a:lnSpc>
        <a:spcBef>
          <a:spcPct val="0"/>
        </a:spcBef>
        <a:buNone/>
        <a:defRPr sz="4400" b="0" i="0" kern="1200">
          <a:solidFill>
            <a:schemeClr val="tx1"/>
          </a:solidFill>
          <a:latin typeface="Univers Condensed" panose="020B050602020205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Univers Condensed" panose="020B050602020205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Univers Condensed" panose="020B050602020205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Univers Condensed" panose="020B050602020205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5"/>
            </p:custDataLst>
            <p:extLst>
              <p:ext uri="{D42A27DB-BD31-4B8C-83A1-F6EECF244321}">
                <p14:modId xmlns:p14="http://schemas.microsoft.com/office/powerpoint/2010/main" val="3527014212"/>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76" imgW="270" imgH="270" progId="TCLayout.ActiveDocument.1">
                  <p:embed/>
                </p:oleObj>
              </mc:Choice>
              <mc:Fallback>
                <p:oleObj name="think-cell Slide" r:id="rId76" imgW="270" imgH="270" progId="TCLayout.ActiveDocument.1">
                  <p:embed/>
                  <p:pic>
                    <p:nvPicPr>
                      <p:cNvPr id="2" name="Object 1" hidden="1"/>
                      <p:cNvPicPr/>
                      <p:nvPr/>
                    </p:nvPicPr>
                    <p:blipFill>
                      <a:blip r:embed="rId77"/>
                      <a:stretch>
                        <a:fillRect/>
                      </a:stretch>
                    </p:blipFill>
                    <p:spPr>
                      <a:xfrm>
                        <a:off x="1589" y="1589"/>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334435" y="357719"/>
            <a:ext cx="11523132"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334435" y="1825627"/>
            <a:ext cx="11523132" cy="414468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pic>
        <p:nvPicPr>
          <p:cNvPr id="21" name="Immagine 8">
            <a:extLst>
              <a:ext uri="{FF2B5EF4-FFF2-40B4-BE49-F238E27FC236}">
                <a16:creationId xmlns:a16="http://schemas.microsoft.com/office/drawing/2014/main" id="{5B7F32CA-1550-43F4-A88E-2FDA4DA0DD7F}"/>
              </a:ext>
            </a:extLst>
          </p:cNvPr>
          <p:cNvPicPr>
            <a:picLocks noChangeAspect="1"/>
          </p:cNvPicPr>
          <p:nvPr userDrawn="1"/>
        </p:nvPicPr>
        <p:blipFill>
          <a:blip r:embed="rId78"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2" name="Slide Number Placeholder 5">
            <a:extLst>
              <a:ext uri="{FF2B5EF4-FFF2-40B4-BE49-F238E27FC236}">
                <a16:creationId xmlns:a16="http://schemas.microsoft.com/office/drawing/2014/main" id="{7A2696C9-9BF1-4ABE-BA91-FC8AE18DE3B8}"/>
              </a:ext>
            </a:extLst>
          </p:cNvPr>
          <p:cNvSpPr txBox="1">
            <a:spLocks/>
          </p:cNvSpPr>
          <p:nvPr userDrawn="1"/>
        </p:nvSpPr>
        <p:spPr>
          <a:xfrm>
            <a:off x="164104" y="6420234"/>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160517890"/>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 id="2147483736" r:id="rId25"/>
    <p:sldLayoutId id="2147483737" r:id="rId26"/>
    <p:sldLayoutId id="2147483738" r:id="rId27"/>
    <p:sldLayoutId id="2147483739" r:id="rId28"/>
    <p:sldLayoutId id="2147483740" r:id="rId29"/>
    <p:sldLayoutId id="2147483741" r:id="rId30"/>
    <p:sldLayoutId id="2147483742" r:id="rId31"/>
    <p:sldLayoutId id="2147483743" r:id="rId32"/>
    <p:sldLayoutId id="2147483744" r:id="rId33"/>
    <p:sldLayoutId id="2147483745" r:id="rId34"/>
    <p:sldLayoutId id="2147483746" r:id="rId35"/>
    <p:sldLayoutId id="2147483747" r:id="rId36"/>
    <p:sldLayoutId id="2147483748" r:id="rId37"/>
    <p:sldLayoutId id="2147483749" r:id="rId38"/>
    <p:sldLayoutId id="2147483750" r:id="rId39"/>
    <p:sldLayoutId id="2147483751" r:id="rId40"/>
    <p:sldLayoutId id="2147483752" r:id="rId41"/>
    <p:sldLayoutId id="2147483753" r:id="rId42"/>
    <p:sldLayoutId id="2147483754" r:id="rId43"/>
    <p:sldLayoutId id="2147483755" r:id="rId44"/>
    <p:sldLayoutId id="2147483756" r:id="rId45"/>
    <p:sldLayoutId id="2147483757" r:id="rId46"/>
    <p:sldLayoutId id="2147483758" r:id="rId47"/>
    <p:sldLayoutId id="2147483759" r:id="rId48"/>
    <p:sldLayoutId id="2147483760" r:id="rId49"/>
    <p:sldLayoutId id="2147483761" r:id="rId50"/>
    <p:sldLayoutId id="2147483762" r:id="rId51"/>
    <p:sldLayoutId id="2147483763" r:id="rId52"/>
    <p:sldLayoutId id="2147483764" r:id="rId53"/>
    <p:sldLayoutId id="2147483765" r:id="rId54"/>
    <p:sldLayoutId id="2147483766" r:id="rId55"/>
    <p:sldLayoutId id="2147483767" r:id="rId56"/>
    <p:sldLayoutId id="2147483768" r:id="rId57"/>
    <p:sldLayoutId id="2147483769" r:id="rId58"/>
    <p:sldLayoutId id="2147483770" r:id="rId59"/>
    <p:sldLayoutId id="2147483771" r:id="rId60"/>
    <p:sldLayoutId id="2147483772" r:id="rId61"/>
    <p:sldLayoutId id="2147483773" r:id="rId62"/>
    <p:sldLayoutId id="2147483774" r:id="rId63"/>
    <p:sldLayoutId id="2147483775" r:id="rId64"/>
    <p:sldLayoutId id="2147483776" r:id="rId65"/>
    <p:sldLayoutId id="2147483777" r:id="rId66"/>
    <p:sldLayoutId id="2147483778" r:id="rId67"/>
    <p:sldLayoutId id="2147483779" r:id="rId68"/>
    <p:sldLayoutId id="2147483780" r:id="rId69"/>
    <p:sldLayoutId id="2147483781" r:id="rId70"/>
    <p:sldLayoutId id="2147483782" r:id="rId71"/>
    <p:sldLayoutId id="2147483783" r:id="rId72"/>
    <p:sldLayoutId id="2147483784" r:id="rId7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354" rtl="0" eaLnBrk="1" latinLnBrk="0" hangingPunct="1">
        <a:lnSpc>
          <a:spcPct val="90000"/>
        </a:lnSpc>
        <a:spcBef>
          <a:spcPct val="0"/>
        </a:spcBef>
        <a:buNone/>
        <a:defRPr sz="2400" b="1" kern="1200">
          <a:solidFill>
            <a:schemeClr val="tx2"/>
          </a:solidFill>
          <a:latin typeface="Univers Condensed" panose="020B0506020202050204" pitchFamily="34" charset="0"/>
          <a:ea typeface="+mj-ea"/>
          <a:cs typeface="+mj-cs"/>
          <a:sym typeface="Trebuchet MS" panose="020B0603020202020204" pitchFamily="34" charset="0"/>
        </a:defRPr>
      </a:lvl1pPr>
    </p:titleStyle>
    <p:bodyStyle>
      <a:lvl1pPr marL="0" indent="0" algn="l" defTabSz="914354" rtl="0" eaLnBrk="1" latinLnBrk="0" hangingPunct="1">
        <a:lnSpc>
          <a:spcPct val="110000"/>
        </a:lnSpc>
        <a:spcBef>
          <a:spcPts val="600"/>
        </a:spcBef>
        <a:spcAft>
          <a:spcPts val="300"/>
        </a:spcAft>
        <a:buFont typeface="Arial" panose="020B0604020202020204" pitchFamily="34" charset="0"/>
        <a:buChar char="​"/>
        <a:defRPr lang="en-US" sz="1333" kern="1200">
          <a:solidFill>
            <a:schemeClr val="tx1"/>
          </a:solidFill>
          <a:latin typeface="Univers Condensed" panose="020B0506020202050204" pitchFamily="34" charset="0"/>
          <a:ea typeface="+mn-ea"/>
          <a:cs typeface="+mn-cs"/>
          <a:sym typeface="Trebuchet MS" panose="020B0603020202020204" pitchFamily="34" charset="0"/>
        </a:defRPr>
      </a:lvl1pPr>
      <a:lvl2pPr marL="42669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333" kern="1200">
          <a:solidFill>
            <a:schemeClr val="tx1"/>
          </a:solidFill>
          <a:latin typeface="Univers Condensed" panose="020B0506020202050204" pitchFamily="34" charset="0"/>
          <a:ea typeface="+mn-ea"/>
          <a:cs typeface="+mn-cs"/>
          <a:sym typeface="Trebuchet MS" panose="020B0603020202020204" pitchFamily="34" charset="0"/>
        </a:defRPr>
      </a:lvl2pPr>
      <a:lvl3pPr marL="86558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333" kern="1200">
          <a:solidFill>
            <a:schemeClr val="tx1"/>
          </a:solidFill>
          <a:latin typeface="Univers Condensed" panose="020B0506020202050204" pitchFamily="34" charset="0"/>
          <a:ea typeface="+mn-ea"/>
          <a:cs typeface="+mn-cs"/>
          <a:sym typeface="Trebuchet MS" panose="020B0603020202020204" pitchFamily="34" charset="0"/>
        </a:defRPr>
      </a:lvl3pPr>
      <a:lvl4pPr marL="0" indent="0" algn="l" defTabSz="914354"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Univers Condensed" panose="020B0506020202050204" pitchFamily="34" charset="0"/>
          <a:ea typeface="+mn-ea"/>
          <a:cs typeface="+mn-cs"/>
          <a:sym typeface="Trebuchet MS" panose="020B0603020202020204" pitchFamily="34" charset="0"/>
        </a:defRPr>
      </a:lvl4pPr>
      <a:lvl5pPr marL="0" indent="0" algn="l" defTabSz="914354" rtl="0" eaLnBrk="1" latinLnBrk="0" hangingPunct="1">
        <a:lnSpc>
          <a:spcPct val="100000"/>
        </a:lnSpc>
        <a:spcBef>
          <a:spcPts val="0"/>
        </a:spcBef>
        <a:spcAft>
          <a:spcPts val="300"/>
        </a:spcAft>
        <a:buClrTx/>
        <a:buFont typeface="Arial" panose="020B0604020202020204" pitchFamily="34" charset="0"/>
        <a:buChar char="​"/>
        <a:defRPr lang="en-US" sz="1600" b="0" kern="1200" smtClean="0">
          <a:solidFill>
            <a:schemeClr val="tx1"/>
          </a:solidFill>
          <a:latin typeface="Univers Condensed" panose="020B0506020202050204" pitchFamily="34" charset="0"/>
          <a:ea typeface="+mn-ea"/>
          <a:cs typeface="+mn-cs"/>
          <a:sym typeface="Trebuchet MS" panose="020B0603020202020204" pitchFamily="34" charset="0"/>
        </a:defRPr>
      </a:lvl5pPr>
      <a:lvl6pPr marL="42669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smtClean="0">
          <a:solidFill>
            <a:schemeClr val="tx1"/>
          </a:solidFill>
          <a:latin typeface="Univers Condensed" panose="020B0506020202050204" pitchFamily="34" charset="0"/>
          <a:ea typeface="+mn-ea"/>
          <a:cs typeface="+mn-cs"/>
          <a:sym typeface="Trebuchet MS" panose="020B0603020202020204" pitchFamily="34" charset="0"/>
        </a:defRPr>
      </a:lvl6pPr>
      <a:lvl7pPr marL="0" indent="0" algn="l" defTabSz="914354" rtl="0" eaLnBrk="1" latinLnBrk="0" hangingPunct="1">
        <a:lnSpc>
          <a:spcPct val="90000"/>
        </a:lnSpc>
        <a:spcBef>
          <a:spcPts val="900"/>
        </a:spcBef>
        <a:spcAft>
          <a:spcPts val="900"/>
        </a:spcAft>
        <a:buFont typeface="Arial" panose="020B0604020202020204" pitchFamily="34" charset="0"/>
        <a:buChar char="​"/>
        <a:defRPr lang="en-US" sz="4533" kern="1200" baseline="0" smtClean="0">
          <a:solidFill>
            <a:schemeClr val="tx1"/>
          </a:solidFill>
          <a:latin typeface="Univers Condensed" panose="020B0506020202050204" pitchFamily="34" charset="0"/>
          <a:ea typeface="+mn-ea"/>
          <a:cs typeface="+mn-cs"/>
          <a:sym typeface="Trebuchet MS" panose="020B0603020202020204" pitchFamily="34" charset="0"/>
        </a:defRPr>
      </a:lvl7pPr>
      <a:lvl8pPr marL="0" indent="0" algn="l" defTabSz="914354" rtl="0" eaLnBrk="1" latinLnBrk="0" hangingPunct="1">
        <a:lnSpc>
          <a:spcPct val="90000"/>
        </a:lnSpc>
        <a:spcBef>
          <a:spcPts val="900"/>
        </a:spcBef>
        <a:spcAft>
          <a:spcPts val="0"/>
        </a:spcAft>
        <a:buFont typeface="Arial" panose="020B0604020202020204" pitchFamily="34" charset="0"/>
        <a:buChar char="​"/>
        <a:defRPr lang="en-US" sz="5333" kern="1200" baseline="0" smtClean="0">
          <a:solidFill>
            <a:schemeClr val="tx2"/>
          </a:solidFill>
          <a:latin typeface="Univers Condensed" panose="020B0506020202050204" pitchFamily="34" charset="0"/>
          <a:ea typeface="+mn-ea"/>
          <a:cs typeface="+mn-cs"/>
          <a:sym typeface="Trebuchet MS" panose="020B0603020202020204" pitchFamily="34" charset="0"/>
        </a:defRPr>
      </a:lvl8pPr>
      <a:lvl9pPr marL="0" indent="0" algn="l" defTabSz="914354"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Univers Condensed" panose="020B0506020202050204" pitchFamily="34" charset="0"/>
          <a:ea typeface="+mn-ea"/>
          <a:cs typeface="+mn-cs"/>
          <a:sym typeface="Trebuchet MS" panose="020B0603020202020204" pitchFamily="34" charset="0"/>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28">
          <p15:clr>
            <a:srgbClr val="F26B43"/>
          </p15:clr>
        </p15:guide>
        <p15:guide id="2" pos="154">
          <p15:clr>
            <a:srgbClr val="F26B43"/>
          </p15:clr>
        </p15:guide>
        <p15:guide id="3" pos="5600">
          <p15:clr>
            <a:srgbClr val="F26B43"/>
          </p15:clr>
        </p15:guide>
        <p15:guide id="4" orient="horz" pos="286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2730990843"/>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7" r:id="rId11"/>
    <p:sldLayoutId id="2147483798" r:id="rId12"/>
    <p:sldLayoutId id="2147483799" r:id="rId13"/>
  </p:sldLayoutIdLst>
  <p:hf hdr="0" ftr="0" dt="0"/>
  <p:txStyles>
    <p:titleStyle>
      <a:lvl1pPr algn="l" defTabSz="914377" rtl="0" eaLnBrk="1" latinLnBrk="0" hangingPunct="1">
        <a:lnSpc>
          <a:spcPct val="90000"/>
        </a:lnSpc>
        <a:spcBef>
          <a:spcPct val="0"/>
        </a:spcBef>
        <a:buNone/>
        <a:defRPr sz="4400" b="0" i="0" kern="1200">
          <a:solidFill>
            <a:schemeClr val="tx1"/>
          </a:solidFill>
          <a:latin typeface="Univers Condensed" panose="020B050602020205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Univers Condensed" panose="020B050602020205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Univers Condensed" panose="020B050602020205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Univers Condensed" panose="020B050602020205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3724412931"/>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3" r:id="rId13"/>
    <p:sldLayoutId id="2147483814" r:id="rId14"/>
    <p:sldLayoutId id="2147483678" r:id="rId15"/>
  </p:sldLayoutIdLst>
  <p:hf hdr="0" ftr="0" dt="0"/>
  <p:txStyles>
    <p:titleStyle>
      <a:lvl1pPr algn="l" defTabSz="914377" rtl="0" eaLnBrk="1" latinLnBrk="0" hangingPunct="1">
        <a:lnSpc>
          <a:spcPct val="90000"/>
        </a:lnSpc>
        <a:spcBef>
          <a:spcPct val="0"/>
        </a:spcBef>
        <a:buNone/>
        <a:defRPr sz="4400" b="0" i="0" kern="1200">
          <a:solidFill>
            <a:schemeClr val="tx1"/>
          </a:solidFill>
          <a:latin typeface="Univers Condensed" panose="020B050602020205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Univers Condensed" panose="020B050602020205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Univers Condensed" panose="020B050602020205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Univers Condensed" panose="020B050602020205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3197184373"/>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 id="2147483828" r:id="rId12"/>
    <p:sldLayoutId id="2147483829" r:id="rId13"/>
    <p:sldLayoutId id="2147483830" r:id="rId14"/>
  </p:sldLayoutIdLst>
  <p:hf hdr="0" ftr="0" dt="0"/>
  <p:txStyles>
    <p:titleStyle>
      <a:lvl1pPr algn="l" defTabSz="914377" rtl="0" eaLnBrk="1" latinLnBrk="0" hangingPunct="1">
        <a:lnSpc>
          <a:spcPct val="90000"/>
        </a:lnSpc>
        <a:spcBef>
          <a:spcPct val="0"/>
        </a:spcBef>
        <a:buNone/>
        <a:defRPr sz="4400" b="0" i="0" kern="1200">
          <a:solidFill>
            <a:schemeClr val="tx1"/>
          </a:solidFill>
          <a:latin typeface="Univers Condensed" panose="020B050602020205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Univers Condensed" panose="020B050602020205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Univers Condensed" panose="020B050602020205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Univers Condensed" panose="020B050602020205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5"/>
            </p:custDataLst>
            <p:extLst>
              <p:ext uri="{D42A27DB-BD31-4B8C-83A1-F6EECF244321}">
                <p14:modId xmlns:p14="http://schemas.microsoft.com/office/powerpoint/2010/main" val="338823214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76" imgW="270" imgH="270" progId="TCLayout.ActiveDocument.1">
                  <p:embed/>
                </p:oleObj>
              </mc:Choice>
              <mc:Fallback>
                <p:oleObj name="Diapositiva think-cell" r:id="rId76" imgW="270" imgH="270" progId="TCLayout.ActiveDocument.1">
                  <p:embed/>
                  <p:pic>
                    <p:nvPicPr>
                      <p:cNvPr id="2" name="Object 1" hidden="1"/>
                      <p:cNvPicPr/>
                      <p:nvPr/>
                    </p:nvPicPr>
                    <p:blipFill>
                      <a:blip r:embed="rId77"/>
                      <a:stretch>
                        <a:fillRect/>
                      </a:stretch>
                    </p:blipFill>
                    <p:spPr>
                      <a:xfrm>
                        <a:off x="1589" y="1589"/>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334435" y="357719"/>
            <a:ext cx="11523132"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334435" y="1825627"/>
            <a:ext cx="11523132" cy="414468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pic>
        <p:nvPicPr>
          <p:cNvPr id="21" name="Immagine 8">
            <a:extLst>
              <a:ext uri="{FF2B5EF4-FFF2-40B4-BE49-F238E27FC236}">
                <a16:creationId xmlns:a16="http://schemas.microsoft.com/office/drawing/2014/main" id="{5B7F32CA-1550-43F4-A88E-2FDA4DA0DD7F}"/>
              </a:ext>
            </a:extLst>
          </p:cNvPr>
          <p:cNvPicPr>
            <a:picLocks noChangeAspect="1"/>
          </p:cNvPicPr>
          <p:nvPr userDrawn="1"/>
        </p:nvPicPr>
        <p:blipFill>
          <a:blip r:embed="rId78"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2" name="Slide Number Placeholder 5">
            <a:extLst>
              <a:ext uri="{FF2B5EF4-FFF2-40B4-BE49-F238E27FC236}">
                <a16:creationId xmlns:a16="http://schemas.microsoft.com/office/drawing/2014/main" id="{7A2696C9-9BF1-4ABE-BA91-FC8AE18DE3B8}"/>
              </a:ext>
            </a:extLst>
          </p:cNvPr>
          <p:cNvSpPr txBox="1">
            <a:spLocks/>
          </p:cNvSpPr>
          <p:nvPr userDrawn="1"/>
        </p:nvSpPr>
        <p:spPr>
          <a:xfrm>
            <a:off x="164104" y="6420234"/>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920909362"/>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846" r:id="rId15"/>
    <p:sldLayoutId id="2147483847" r:id="rId16"/>
    <p:sldLayoutId id="2147483848" r:id="rId17"/>
    <p:sldLayoutId id="2147483849" r:id="rId18"/>
    <p:sldLayoutId id="2147483850" r:id="rId19"/>
    <p:sldLayoutId id="2147483851" r:id="rId20"/>
    <p:sldLayoutId id="2147483852" r:id="rId21"/>
    <p:sldLayoutId id="2147483853" r:id="rId22"/>
    <p:sldLayoutId id="2147483854" r:id="rId23"/>
    <p:sldLayoutId id="2147483855" r:id="rId24"/>
    <p:sldLayoutId id="2147483856" r:id="rId25"/>
    <p:sldLayoutId id="2147483857" r:id="rId26"/>
    <p:sldLayoutId id="2147483858" r:id="rId27"/>
    <p:sldLayoutId id="2147483859" r:id="rId28"/>
    <p:sldLayoutId id="2147483860" r:id="rId29"/>
    <p:sldLayoutId id="2147483861" r:id="rId30"/>
    <p:sldLayoutId id="2147483862" r:id="rId31"/>
    <p:sldLayoutId id="2147483863" r:id="rId32"/>
    <p:sldLayoutId id="2147483864" r:id="rId33"/>
    <p:sldLayoutId id="2147483865" r:id="rId34"/>
    <p:sldLayoutId id="2147483866" r:id="rId35"/>
    <p:sldLayoutId id="2147483867" r:id="rId36"/>
    <p:sldLayoutId id="2147483868" r:id="rId37"/>
    <p:sldLayoutId id="2147483869" r:id="rId38"/>
    <p:sldLayoutId id="2147483870" r:id="rId39"/>
    <p:sldLayoutId id="2147483871" r:id="rId40"/>
    <p:sldLayoutId id="2147483872" r:id="rId41"/>
    <p:sldLayoutId id="2147483873" r:id="rId42"/>
    <p:sldLayoutId id="2147483874" r:id="rId43"/>
    <p:sldLayoutId id="2147483875" r:id="rId44"/>
    <p:sldLayoutId id="2147483876" r:id="rId45"/>
    <p:sldLayoutId id="2147483877" r:id="rId46"/>
    <p:sldLayoutId id="2147483878" r:id="rId47"/>
    <p:sldLayoutId id="2147483879" r:id="rId48"/>
    <p:sldLayoutId id="2147483880" r:id="rId49"/>
    <p:sldLayoutId id="2147483881" r:id="rId50"/>
    <p:sldLayoutId id="2147483882" r:id="rId51"/>
    <p:sldLayoutId id="2147483883" r:id="rId52"/>
    <p:sldLayoutId id="2147483884" r:id="rId53"/>
    <p:sldLayoutId id="2147483885" r:id="rId54"/>
    <p:sldLayoutId id="2147483886" r:id="rId55"/>
    <p:sldLayoutId id="2147483887" r:id="rId56"/>
    <p:sldLayoutId id="2147483888" r:id="rId57"/>
    <p:sldLayoutId id="2147483889" r:id="rId58"/>
    <p:sldLayoutId id="2147483890" r:id="rId59"/>
    <p:sldLayoutId id="2147483891" r:id="rId60"/>
    <p:sldLayoutId id="2147483892" r:id="rId61"/>
    <p:sldLayoutId id="2147483893" r:id="rId62"/>
    <p:sldLayoutId id="2147483894" r:id="rId63"/>
    <p:sldLayoutId id="2147483895" r:id="rId64"/>
    <p:sldLayoutId id="2147483896" r:id="rId65"/>
    <p:sldLayoutId id="2147483897" r:id="rId66"/>
    <p:sldLayoutId id="2147483898" r:id="rId67"/>
    <p:sldLayoutId id="2147483899" r:id="rId68"/>
    <p:sldLayoutId id="2147483900" r:id="rId69"/>
    <p:sldLayoutId id="2147483901" r:id="rId70"/>
    <p:sldLayoutId id="2147483902" r:id="rId71"/>
    <p:sldLayoutId id="2147483903" r:id="rId72"/>
    <p:sldLayoutId id="2147483904" r:id="rId7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354" rtl="0" eaLnBrk="1" latinLnBrk="0" hangingPunct="1">
        <a:lnSpc>
          <a:spcPct val="90000"/>
        </a:lnSpc>
        <a:spcBef>
          <a:spcPct val="0"/>
        </a:spcBef>
        <a:buNone/>
        <a:defRPr sz="2400" b="1" kern="1200">
          <a:solidFill>
            <a:schemeClr val="tx2"/>
          </a:solidFill>
          <a:latin typeface="+mj-lt"/>
          <a:ea typeface="+mj-ea"/>
          <a:cs typeface="+mj-cs"/>
          <a:sym typeface="Trebuchet MS" panose="020B0603020202020204" pitchFamily="34" charset="0"/>
        </a:defRPr>
      </a:lvl1pPr>
    </p:titleStyle>
    <p:bodyStyle>
      <a:lvl1pPr marL="0" indent="0" algn="l" defTabSz="914354" rtl="0" eaLnBrk="1" latinLnBrk="0" hangingPunct="1">
        <a:lnSpc>
          <a:spcPct val="110000"/>
        </a:lnSpc>
        <a:spcBef>
          <a:spcPts val="600"/>
        </a:spcBef>
        <a:spcAft>
          <a:spcPts val="300"/>
        </a:spcAft>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1pPr>
      <a:lvl2pPr marL="42669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2pPr>
      <a:lvl3pPr marL="86558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3pPr>
      <a:lvl4pPr marL="0" indent="0" algn="l" defTabSz="914354"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354" rtl="0" eaLnBrk="1" latinLnBrk="0" hangingPunct="1">
        <a:lnSpc>
          <a:spcPct val="100000"/>
        </a:lnSpc>
        <a:spcBef>
          <a:spcPts val="0"/>
        </a:spcBef>
        <a:spcAft>
          <a:spcPts val="300"/>
        </a:spcAft>
        <a:buClrTx/>
        <a:buFont typeface="Arial" panose="020B0604020202020204" pitchFamily="34" charset="0"/>
        <a:buChar char="​"/>
        <a:defRPr lang="en-US" sz="1600" b="0" kern="1200" smtClean="0">
          <a:solidFill>
            <a:schemeClr val="tx1"/>
          </a:solidFill>
          <a:latin typeface="+mn-lt"/>
          <a:ea typeface="+mn-ea"/>
          <a:cs typeface="+mn-cs"/>
          <a:sym typeface="Trebuchet MS" panose="020B0603020202020204" pitchFamily="34" charset="0"/>
        </a:defRPr>
      </a:lvl5pPr>
      <a:lvl6pPr marL="42669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354" rtl="0" eaLnBrk="1" latinLnBrk="0" hangingPunct="1">
        <a:lnSpc>
          <a:spcPct val="90000"/>
        </a:lnSpc>
        <a:spcBef>
          <a:spcPts val="900"/>
        </a:spcBef>
        <a:spcAft>
          <a:spcPts val="900"/>
        </a:spcAft>
        <a:buFont typeface="Arial" panose="020B0604020202020204" pitchFamily="34" charset="0"/>
        <a:buChar char="​"/>
        <a:defRPr lang="en-US" sz="4533" kern="1200" baseline="0" smtClean="0">
          <a:solidFill>
            <a:schemeClr val="tx1"/>
          </a:solidFill>
          <a:latin typeface="+mn-lt"/>
          <a:ea typeface="+mn-ea"/>
          <a:cs typeface="+mn-cs"/>
          <a:sym typeface="Trebuchet MS" panose="020B0603020202020204" pitchFamily="34" charset="0"/>
        </a:defRPr>
      </a:lvl7pPr>
      <a:lvl8pPr marL="0" indent="0" algn="l" defTabSz="914354" rtl="0" eaLnBrk="1" latinLnBrk="0" hangingPunct="1">
        <a:lnSpc>
          <a:spcPct val="90000"/>
        </a:lnSpc>
        <a:spcBef>
          <a:spcPts val="900"/>
        </a:spcBef>
        <a:spcAft>
          <a:spcPts val="0"/>
        </a:spcAft>
        <a:buFont typeface="Arial" panose="020B0604020202020204" pitchFamily="34" charset="0"/>
        <a:buChar char="​"/>
        <a:defRPr lang="en-US" sz="5333" kern="1200" baseline="0" smtClean="0">
          <a:solidFill>
            <a:schemeClr val="tx2"/>
          </a:solidFill>
          <a:latin typeface="+mn-lt"/>
          <a:ea typeface="+mn-ea"/>
          <a:cs typeface="+mn-cs"/>
          <a:sym typeface="Trebuchet MS" panose="020B0603020202020204" pitchFamily="34" charset="0"/>
        </a:defRPr>
      </a:lvl8pPr>
      <a:lvl9pPr marL="0" indent="0" algn="l" defTabSz="914354"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28">
          <p15:clr>
            <a:srgbClr val="F26B43"/>
          </p15:clr>
        </p15:guide>
        <p15:guide id="2" pos="154">
          <p15:clr>
            <a:srgbClr val="F26B43"/>
          </p15:clr>
        </p15:guide>
        <p15:guide id="3" pos="5600">
          <p15:clr>
            <a:srgbClr val="F26B43"/>
          </p15:clr>
        </p15:guide>
        <p15:guide id="4" orient="horz" pos="286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388931256"/>
      </p:ext>
    </p:extLst>
  </p:cSld>
  <p:clrMap bg1="lt1" tx1="dk1" bg2="lt2" tx2="dk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Lst>
  <p:hf hdr="0" ftr="0"/>
  <p:txStyles>
    <p:titleStyle>
      <a:lvl1pPr algn="l" defTabSz="914377" rtl="0" eaLnBrk="1" latinLnBrk="0" hangingPunct="1">
        <a:lnSpc>
          <a:spcPct val="90000"/>
        </a:lnSpc>
        <a:spcBef>
          <a:spcPct val="0"/>
        </a:spcBef>
        <a:buNone/>
        <a:defRPr sz="4400" b="0" i="0" kern="1200">
          <a:solidFill>
            <a:schemeClr val="tx1"/>
          </a:solidFill>
          <a:latin typeface="Univers Condensed" panose="020B050602020205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Univers Condensed" panose="020B050602020205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Univers Condensed" panose="020B050602020205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Univers Condensed" panose="020B050602020205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4"/>
          </a:xfrm>
          <a:prstGeom prst="rect">
            <a:avLst/>
          </a:prstGeom>
        </p:spPr>
        <p:txBody>
          <a:bodyPr vert="horz" lIns="91440" tIns="45720" rIns="91440" bIns="45720" rtlCol="0" anchor="ctr">
            <a:normAutofit/>
          </a:bodyPr>
          <a:lstStyle/>
          <a:p>
            <a:r>
              <a:rPr lang="it-IT"/>
              <a:t>Fare clic per modificare lo stile del titolo dello schema</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2"/>
          </p:nvPr>
        </p:nvSpPr>
        <p:spPr>
          <a:xfrm>
            <a:off x="9239724" y="6356350"/>
            <a:ext cx="1146779" cy="365125"/>
          </a:xfrm>
          <a:prstGeom prst="rect">
            <a:avLst/>
          </a:prstGeom>
        </p:spPr>
        <p:txBody>
          <a:bodyPr vert="horz" lIns="91440" tIns="45720" rIns="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fld id="{0E21FFF9-140B-034A-B245-604DEB183723}" type="datetime1">
              <a:rPr lang="it-IT" smtClean="0"/>
              <a:t>19/02/2026</a:t>
            </a:fld>
            <a:endParaRPr lang="it-IT" dirty="0"/>
          </a:p>
        </p:txBody>
      </p:sp>
      <p:sp>
        <p:nvSpPr>
          <p:cNvPr id="5" name="Footer Placeholder 4"/>
          <p:cNvSpPr>
            <a:spLocks noGrp="1"/>
          </p:cNvSpPr>
          <p:nvPr>
            <p:ph type="ftr" sz="quarter" idx="3"/>
          </p:nvPr>
        </p:nvSpPr>
        <p:spPr>
          <a:xfrm>
            <a:off x="1984980" y="6356350"/>
            <a:ext cx="7254745" cy="365125"/>
          </a:xfrm>
          <a:prstGeom prst="rect">
            <a:avLst/>
          </a:prstGeom>
        </p:spPr>
        <p:txBody>
          <a:bodyPr vert="horz" lIns="91440" tIns="45720" rIns="9144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endParaRPr lang="it-IT" dirty="0"/>
          </a:p>
        </p:txBody>
      </p:sp>
      <p:sp>
        <p:nvSpPr>
          <p:cNvPr id="6" name="Slide Number Placeholder 5"/>
          <p:cNvSpPr>
            <a:spLocks noGrp="1"/>
          </p:cNvSpPr>
          <p:nvPr>
            <p:ph type="sldNum" sz="quarter" idx="4"/>
          </p:nvPr>
        </p:nvSpPr>
        <p:spPr>
          <a:xfrm>
            <a:off x="838200" y="6356350"/>
            <a:ext cx="1146779" cy="365125"/>
          </a:xfrm>
          <a:prstGeom prst="rect">
            <a:avLst/>
          </a:prstGeom>
        </p:spPr>
        <p:txBody>
          <a:bodyPr vert="horz" lIns="0" tIns="45720" rIns="91440" bIns="45720" rtlCol="0" anchor="ctr"/>
          <a:lstStyle>
            <a:lvl1pPr algn="l">
              <a:defRPr sz="1065" b="1">
                <a:solidFill>
                  <a:schemeClr val="tx1">
                    <a:tint val="82000"/>
                  </a:schemeClr>
                </a:solidFill>
                <a:latin typeface="Arial" panose="020B0604020202020204" pitchFamily="34" charset="0"/>
                <a:cs typeface="Arial" panose="020B0604020202020204" pitchFamily="34" charset="0"/>
              </a:defRPr>
            </a:lvl1pPr>
          </a:lstStyle>
          <a:p>
            <a:fld id="{3DC449BC-E673-2243-8924-E6398E7E2D4C}" type="slidenum">
              <a:rPr lang="it-IT" smtClean="0"/>
              <a:pPr/>
              <a:t>‹N›</a:t>
            </a:fld>
            <a:endParaRPr lang="it-IT" dirty="0"/>
          </a:p>
        </p:txBody>
      </p:sp>
    </p:spTree>
    <p:extLst>
      <p:ext uri="{BB962C8B-B14F-4D97-AF65-F5344CB8AC3E}">
        <p14:creationId xmlns:p14="http://schemas.microsoft.com/office/powerpoint/2010/main" val="2829654470"/>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 id="2147483922" r:id="rId8"/>
    <p:sldLayoutId id="2147483923" r:id="rId9"/>
    <p:sldLayoutId id="2147483924" r:id="rId10"/>
    <p:sldLayoutId id="2147483925" r:id="rId11"/>
    <p:sldLayoutId id="2147483926" r:id="rId12"/>
    <p:sldLayoutId id="2147483927" r:id="rId13"/>
    <p:sldLayoutId id="2147483928" r:id="rId14"/>
    <p:sldLayoutId id="2147483929" r:id="rId15"/>
  </p:sldLayoutIdLst>
  <p:hf hdr="0" ftr="0" dt="0"/>
  <p:txStyles>
    <p:titleStyle>
      <a:lvl1pPr algn="l" defTabSz="913006" rtl="0" eaLnBrk="1" latinLnBrk="0" hangingPunct="1">
        <a:lnSpc>
          <a:spcPct val="90000"/>
        </a:lnSpc>
        <a:spcBef>
          <a:spcPct val="0"/>
        </a:spcBef>
        <a:buNone/>
        <a:defRPr sz="4393" kern="1200">
          <a:solidFill>
            <a:schemeClr val="tx1"/>
          </a:solidFill>
          <a:latin typeface="+mj-lt"/>
          <a:ea typeface="+mj-ea"/>
          <a:cs typeface="+mj-cs"/>
        </a:defRPr>
      </a:lvl1pPr>
    </p:titleStyle>
    <p:bodyStyle>
      <a:lvl1pPr marL="228251" indent="-228251" algn="l" defTabSz="913006" rtl="0" eaLnBrk="1" latinLnBrk="0" hangingPunct="1">
        <a:lnSpc>
          <a:spcPct val="90000"/>
        </a:lnSpc>
        <a:spcBef>
          <a:spcPts val="998"/>
        </a:spcBef>
        <a:buFont typeface="Arial" panose="020B0604020202020204" pitchFamily="34" charset="0"/>
        <a:buChar char="•"/>
        <a:defRPr sz="2796" kern="1200">
          <a:solidFill>
            <a:schemeClr val="tx1"/>
          </a:solidFill>
          <a:latin typeface="+mn-lt"/>
          <a:ea typeface="+mn-ea"/>
          <a:cs typeface="+mn-cs"/>
        </a:defRPr>
      </a:lvl1pPr>
      <a:lvl2pPr marL="684754" indent="-228251" algn="l" defTabSz="913006" rtl="0" eaLnBrk="1" latinLnBrk="0" hangingPunct="1">
        <a:lnSpc>
          <a:spcPct val="90000"/>
        </a:lnSpc>
        <a:spcBef>
          <a:spcPts val="499"/>
        </a:spcBef>
        <a:buFont typeface="Arial" panose="020B0604020202020204" pitchFamily="34" charset="0"/>
        <a:buChar char="•"/>
        <a:defRPr sz="2396" kern="1200">
          <a:solidFill>
            <a:schemeClr val="tx1"/>
          </a:solidFill>
          <a:latin typeface="+mn-lt"/>
          <a:ea typeface="+mn-ea"/>
          <a:cs typeface="+mn-cs"/>
        </a:defRPr>
      </a:lvl2pPr>
      <a:lvl3pPr marL="1141257" indent="-228251" algn="l" defTabSz="913006" rtl="0" eaLnBrk="1" latinLnBrk="0" hangingPunct="1">
        <a:lnSpc>
          <a:spcPct val="90000"/>
        </a:lnSpc>
        <a:spcBef>
          <a:spcPts val="499"/>
        </a:spcBef>
        <a:buFont typeface="Arial" panose="020B0604020202020204" pitchFamily="34" charset="0"/>
        <a:buChar char="•"/>
        <a:defRPr sz="1997" kern="1200">
          <a:solidFill>
            <a:schemeClr val="tx1"/>
          </a:solidFill>
          <a:latin typeface="+mn-lt"/>
          <a:ea typeface="+mn-ea"/>
          <a:cs typeface="+mn-cs"/>
        </a:defRPr>
      </a:lvl3pPr>
      <a:lvl4pPr marL="1597760" indent="-228251" algn="l" defTabSz="913006"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4pPr>
      <a:lvl5pPr marL="2054262" indent="-228251" algn="l" defTabSz="913006"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5pPr>
      <a:lvl6pPr marL="2510765" indent="-228251" algn="l" defTabSz="913006"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6pPr>
      <a:lvl7pPr marL="2967268" indent="-228251" algn="l" defTabSz="913006"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7pPr>
      <a:lvl8pPr marL="3423771" indent="-228251" algn="l" defTabSz="913006"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8pPr>
      <a:lvl9pPr marL="3880274" indent="-228251" algn="l" defTabSz="913006"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9pPr>
    </p:bodyStyle>
    <p:otherStyle>
      <a:defPPr>
        <a:defRPr lang="en-US"/>
      </a:defPPr>
      <a:lvl1pPr marL="0" algn="l" defTabSz="913006" rtl="0" eaLnBrk="1" latinLnBrk="0" hangingPunct="1">
        <a:defRPr sz="1797" kern="1200">
          <a:solidFill>
            <a:schemeClr val="tx1"/>
          </a:solidFill>
          <a:latin typeface="+mn-lt"/>
          <a:ea typeface="+mn-ea"/>
          <a:cs typeface="+mn-cs"/>
        </a:defRPr>
      </a:lvl1pPr>
      <a:lvl2pPr marL="456503" algn="l" defTabSz="913006" rtl="0" eaLnBrk="1" latinLnBrk="0" hangingPunct="1">
        <a:defRPr sz="1797" kern="1200">
          <a:solidFill>
            <a:schemeClr val="tx1"/>
          </a:solidFill>
          <a:latin typeface="+mn-lt"/>
          <a:ea typeface="+mn-ea"/>
          <a:cs typeface="+mn-cs"/>
        </a:defRPr>
      </a:lvl2pPr>
      <a:lvl3pPr marL="913006" algn="l" defTabSz="913006" rtl="0" eaLnBrk="1" latinLnBrk="0" hangingPunct="1">
        <a:defRPr sz="1797" kern="1200">
          <a:solidFill>
            <a:schemeClr val="tx1"/>
          </a:solidFill>
          <a:latin typeface="+mn-lt"/>
          <a:ea typeface="+mn-ea"/>
          <a:cs typeface="+mn-cs"/>
        </a:defRPr>
      </a:lvl3pPr>
      <a:lvl4pPr marL="1369508" algn="l" defTabSz="913006" rtl="0" eaLnBrk="1" latinLnBrk="0" hangingPunct="1">
        <a:defRPr sz="1797" kern="1200">
          <a:solidFill>
            <a:schemeClr val="tx1"/>
          </a:solidFill>
          <a:latin typeface="+mn-lt"/>
          <a:ea typeface="+mn-ea"/>
          <a:cs typeface="+mn-cs"/>
        </a:defRPr>
      </a:lvl4pPr>
      <a:lvl5pPr marL="1826011" algn="l" defTabSz="913006" rtl="0" eaLnBrk="1" latinLnBrk="0" hangingPunct="1">
        <a:defRPr sz="1797" kern="1200">
          <a:solidFill>
            <a:schemeClr val="tx1"/>
          </a:solidFill>
          <a:latin typeface="+mn-lt"/>
          <a:ea typeface="+mn-ea"/>
          <a:cs typeface="+mn-cs"/>
        </a:defRPr>
      </a:lvl5pPr>
      <a:lvl6pPr marL="2282514" algn="l" defTabSz="913006" rtl="0" eaLnBrk="1" latinLnBrk="0" hangingPunct="1">
        <a:defRPr sz="1797" kern="1200">
          <a:solidFill>
            <a:schemeClr val="tx1"/>
          </a:solidFill>
          <a:latin typeface="+mn-lt"/>
          <a:ea typeface="+mn-ea"/>
          <a:cs typeface="+mn-cs"/>
        </a:defRPr>
      </a:lvl6pPr>
      <a:lvl7pPr marL="2739017" algn="l" defTabSz="913006" rtl="0" eaLnBrk="1" latinLnBrk="0" hangingPunct="1">
        <a:defRPr sz="1797" kern="1200">
          <a:solidFill>
            <a:schemeClr val="tx1"/>
          </a:solidFill>
          <a:latin typeface="+mn-lt"/>
          <a:ea typeface="+mn-ea"/>
          <a:cs typeface="+mn-cs"/>
        </a:defRPr>
      </a:lvl7pPr>
      <a:lvl8pPr marL="3195519" algn="l" defTabSz="913006" rtl="0" eaLnBrk="1" latinLnBrk="0" hangingPunct="1">
        <a:defRPr sz="1797" kern="1200">
          <a:solidFill>
            <a:schemeClr val="tx1"/>
          </a:solidFill>
          <a:latin typeface="+mn-lt"/>
          <a:ea typeface="+mn-ea"/>
          <a:cs typeface="+mn-cs"/>
        </a:defRPr>
      </a:lvl8pPr>
      <a:lvl9pPr marL="3652022" algn="l" defTabSz="913006" rtl="0" eaLnBrk="1" latinLnBrk="0" hangingPunct="1">
        <a:defRPr sz="179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10.xml.rels><?xml version="1.0" encoding="UTF-8" standalone="yes"?>
<Relationships xmlns="http://schemas.openxmlformats.org/package/2006/relationships"><Relationship Id="rId8" Type="http://schemas.openxmlformats.org/officeDocument/2006/relationships/image" Target="../media/image95.png"/><Relationship Id="rId13" Type="http://schemas.openxmlformats.org/officeDocument/2006/relationships/image" Target="../media/image37.png"/><Relationship Id="rId18" Type="http://schemas.openxmlformats.org/officeDocument/2006/relationships/image" Target="../media/image102.png"/><Relationship Id="rId3" Type="http://schemas.openxmlformats.org/officeDocument/2006/relationships/image" Target="../media/image90.png"/><Relationship Id="rId7" Type="http://schemas.openxmlformats.org/officeDocument/2006/relationships/image" Target="../media/image94.svg"/><Relationship Id="rId12" Type="http://schemas.openxmlformats.org/officeDocument/2006/relationships/image" Target="../media/image99.jpeg"/><Relationship Id="rId17" Type="http://schemas.openxmlformats.org/officeDocument/2006/relationships/image" Target="../media/image101.svg"/><Relationship Id="rId2" Type="http://schemas.openxmlformats.org/officeDocument/2006/relationships/notesSlide" Target="../notesSlides/notesSlide2.xml"/><Relationship Id="rId16" Type="http://schemas.openxmlformats.org/officeDocument/2006/relationships/image" Target="../media/image100.png"/><Relationship Id="rId1" Type="http://schemas.openxmlformats.org/officeDocument/2006/relationships/slideLayout" Target="../slideLayouts/slideLayout119.xml"/><Relationship Id="rId6" Type="http://schemas.openxmlformats.org/officeDocument/2006/relationships/image" Target="../media/image93.png"/><Relationship Id="rId11" Type="http://schemas.openxmlformats.org/officeDocument/2006/relationships/image" Target="../media/image98.png"/><Relationship Id="rId5" Type="http://schemas.openxmlformats.org/officeDocument/2006/relationships/image" Target="../media/image92.png"/><Relationship Id="rId15" Type="http://schemas.openxmlformats.org/officeDocument/2006/relationships/image" Target="../media/image32.png"/><Relationship Id="rId10" Type="http://schemas.openxmlformats.org/officeDocument/2006/relationships/image" Target="../media/image97.jpeg"/><Relationship Id="rId4" Type="http://schemas.openxmlformats.org/officeDocument/2006/relationships/image" Target="../media/image91.png"/><Relationship Id="rId9" Type="http://schemas.openxmlformats.org/officeDocument/2006/relationships/image" Target="../media/image96.svg"/><Relationship Id="rId14" Type="http://schemas.openxmlformats.org/officeDocument/2006/relationships/image" Target="../media/image38.svg"/></Relationships>
</file>

<file path=ppt/slides/_rels/slide11.xml.rels><?xml version="1.0" encoding="UTF-8" standalone="yes"?>
<Relationships xmlns="http://schemas.openxmlformats.org/package/2006/relationships"><Relationship Id="rId8" Type="http://schemas.openxmlformats.org/officeDocument/2006/relationships/image" Target="../media/image109.png"/><Relationship Id="rId13" Type="http://schemas.openxmlformats.org/officeDocument/2006/relationships/image" Target="../media/image114.png"/><Relationship Id="rId3" Type="http://schemas.openxmlformats.org/officeDocument/2006/relationships/image" Target="../media/image104.png"/><Relationship Id="rId7" Type="http://schemas.openxmlformats.org/officeDocument/2006/relationships/image" Target="../media/image108.svg"/><Relationship Id="rId12" Type="http://schemas.openxmlformats.org/officeDocument/2006/relationships/image" Target="../media/image113.png"/><Relationship Id="rId17" Type="http://schemas.openxmlformats.org/officeDocument/2006/relationships/image" Target="../media/image38.svg"/><Relationship Id="rId2" Type="http://schemas.openxmlformats.org/officeDocument/2006/relationships/image" Target="../media/image103.png"/><Relationship Id="rId16" Type="http://schemas.openxmlformats.org/officeDocument/2006/relationships/image" Target="../media/image37.png"/><Relationship Id="rId1" Type="http://schemas.openxmlformats.org/officeDocument/2006/relationships/slideLayout" Target="../slideLayouts/slideLayout104.xml"/><Relationship Id="rId6" Type="http://schemas.openxmlformats.org/officeDocument/2006/relationships/image" Target="../media/image107.png"/><Relationship Id="rId11" Type="http://schemas.openxmlformats.org/officeDocument/2006/relationships/image" Target="../media/image112.svg"/><Relationship Id="rId5" Type="http://schemas.openxmlformats.org/officeDocument/2006/relationships/image" Target="../media/image106.svg"/><Relationship Id="rId15" Type="http://schemas.openxmlformats.org/officeDocument/2006/relationships/image" Target="../media/image116.png"/><Relationship Id="rId10" Type="http://schemas.openxmlformats.org/officeDocument/2006/relationships/image" Target="../media/image111.png"/><Relationship Id="rId4" Type="http://schemas.openxmlformats.org/officeDocument/2006/relationships/image" Target="../media/image105.png"/><Relationship Id="rId9" Type="http://schemas.openxmlformats.org/officeDocument/2006/relationships/image" Target="../media/image110.svg"/><Relationship Id="rId14" Type="http://schemas.openxmlformats.org/officeDocument/2006/relationships/image" Target="../media/image115.svg"/></Relationships>
</file>

<file path=ppt/slides/_rels/slide12.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jpeg"/><Relationship Id="rId1" Type="http://schemas.openxmlformats.org/officeDocument/2006/relationships/slideLayout" Target="../slideLayouts/slideLayout206.xml"/><Relationship Id="rId4" Type="http://schemas.openxmlformats.org/officeDocument/2006/relationships/image" Target="../media/image32.png"/></Relationships>
</file>

<file path=ppt/slides/_rels/slide13.xml.rels><?xml version="1.0" encoding="UTF-8" standalone="yes"?>
<Relationships xmlns="http://schemas.openxmlformats.org/package/2006/relationships"><Relationship Id="rId8" Type="http://schemas.openxmlformats.org/officeDocument/2006/relationships/image" Target="../media/image123.png"/><Relationship Id="rId13" Type="http://schemas.openxmlformats.org/officeDocument/2006/relationships/image" Target="../media/image128.png"/><Relationship Id="rId3" Type="http://schemas.openxmlformats.org/officeDocument/2006/relationships/hyperlink" Target="mailto:info@sacesimest.it" TargetMode="External"/><Relationship Id="rId7" Type="http://schemas.openxmlformats.org/officeDocument/2006/relationships/image" Target="../media/image122.png"/><Relationship Id="rId12" Type="http://schemas.openxmlformats.org/officeDocument/2006/relationships/image" Target="../media/image127.png"/><Relationship Id="rId2" Type="http://schemas.openxmlformats.org/officeDocument/2006/relationships/image" Target="../media/image119.jpeg"/><Relationship Id="rId1" Type="http://schemas.openxmlformats.org/officeDocument/2006/relationships/slideLayout" Target="../slideLayouts/slideLayout4.xml"/><Relationship Id="rId6" Type="http://schemas.openxmlformats.org/officeDocument/2006/relationships/image" Target="../media/image121.png"/><Relationship Id="rId11" Type="http://schemas.openxmlformats.org/officeDocument/2006/relationships/image" Target="../media/image126.jpeg"/><Relationship Id="rId5" Type="http://schemas.openxmlformats.org/officeDocument/2006/relationships/hyperlink" Target="http://www.simest.it/" TargetMode="External"/><Relationship Id="rId10" Type="http://schemas.openxmlformats.org/officeDocument/2006/relationships/image" Target="../media/image125.png"/><Relationship Id="rId4" Type="http://schemas.openxmlformats.org/officeDocument/2006/relationships/image" Target="../media/image120.png"/><Relationship Id="rId9" Type="http://schemas.openxmlformats.org/officeDocument/2006/relationships/image" Target="../media/image124.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24.png"/><Relationship Id="rId2" Type="http://schemas.openxmlformats.org/officeDocument/2006/relationships/slideLayout" Target="../slideLayouts/slideLayout91.xml"/><Relationship Id="rId1" Type="http://schemas.openxmlformats.org/officeDocument/2006/relationships/tags" Target="../tags/tag163.xml"/><Relationship Id="rId6" Type="http://schemas.openxmlformats.org/officeDocument/2006/relationships/image" Target="../media/image23.emf"/><Relationship Id="rId5" Type="http://schemas.openxmlformats.org/officeDocument/2006/relationships/oleObject" Target="../embeddings/oleObject76.bin"/><Relationship Id="rId4" Type="http://schemas.openxmlformats.org/officeDocument/2006/relationships/image" Target="../media/image22.png"/></Relationships>
</file>

<file path=ppt/slides/_rels/slide3.xml.rels><?xml version="1.0" encoding="UTF-8" standalone="yes"?>
<Relationships xmlns="http://schemas.openxmlformats.org/package/2006/relationships"><Relationship Id="rId8" Type="http://schemas.openxmlformats.org/officeDocument/2006/relationships/image" Target="../media/image31.jpeg"/><Relationship Id="rId13" Type="http://schemas.openxmlformats.org/officeDocument/2006/relationships/image" Target="../media/image36.svg"/><Relationship Id="rId3" Type="http://schemas.openxmlformats.org/officeDocument/2006/relationships/image" Target="../media/image26.jpeg"/><Relationship Id="rId7" Type="http://schemas.openxmlformats.org/officeDocument/2006/relationships/image" Target="../media/image30.png"/><Relationship Id="rId12" Type="http://schemas.openxmlformats.org/officeDocument/2006/relationships/image" Target="../media/image35.png"/><Relationship Id="rId17" Type="http://schemas.openxmlformats.org/officeDocument/2006/relationships/image" Target="../media/image40.png"/><Relationship Id="rId2" Type="http://schemas.openxmlformats.org/officeDocument/2006/relationships/image" Target="../media/image25.jpeg"/><Relationship Id="rId16" Type="http://schemas.openxmlformats.org/officeDocument/2006/relationships/image" Target="../media/image39.jpeg"/><Relationship Id="rId1" Type="http://schemas.openxmlformats.org/officeDocument/2006/relationships/slideLayout" Target="../slideLayouts/slideLayout91.xml"/><Relationship Id="rId6" Type="http://schemas.openxmlformats.org/officeDocument/2006/relationships/image" Target="../media/image29.jpeg"/><Relationship Id="rId11" Type="http://schemas.openxmlformats.org/officeDocument/2006/relationships/image" Target="../media/image34.svg"/><Relationship Id="rId5" Type="http://schemas.openxmlformats.org/officeDocument/2006/relationships/image" Target="../media/image28.jpeg"/><Relationship Id="rId15" Type="http://schemas.openxmlformats.org/officeDocument/2006/relationships/image" Target="../media/image38.svg"/><Relationship Id="rId10" Type="http://schemas.openxmlformats.org/officeDocument/2006/relationships/image" Target="../media/image33.png"/><Relationship Id="rId4" Type="http://schemas.openxmlformats.org/officeDocument/2006/relationships/image" Target="../media/image27.jpeg"/><Relationship Id="rId9" Type="http://schemas.openxmlformats.org/officeDocument/2006/relationships/image" Target="../media/image32.png"/><Relationship Id="rId14" Type="http://schemas.openxmlformats.org/officeDocument/2006/relationships/image" Target="../media/image37.png"/></Relationships>
</file>

<file path=ppt/slides/_rels/slide4.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image" Target="../media/image42.svg"/><Relationship Id="rId7" Type="http://schemas.openxmlformats.org/officeDocument/2006/relationships/image" Target="../media/image46.png"/><Relationship Id="rId2" Type="http://schemas.openxmlformats.org/officeDocument/2006/relationships/image" Target="../media/image41.png"/><Relationship Id="rId1" Type="http://schemas.openxmlformats.org/officeDocument/2006/relationships/slideLayout" Target="../slideLayouts/slideLayout4.xml"/><Relationship Id="rId6" Type="http://schemas.openxmlformats.org/officeDocument/2006/relationships/image" Target="../media/image45.jpeg"/><Relationship Id="rId5" Type="http://schemas.openxmlformats.org/officeDocument/2006/relationships/image" Target="../media/image44.svg"/><Relationship Id="rId10" Type="http://schemas.openxmlformats.org/officeDocument/2006/relationships/image" Target="../media/image49.svg"/><Relationship Id="rId4" Type="http://schemas.openxmlformats.org/officeDocument/2006/relationships/image" Target="../media/image43.png"/><Relationship Id="rId9" Type="http://schemas.openxmlformats.org/officeDocument/2006/relationships/image" Target="../media/image48.png"/></Relationships>
</file>

<file path=ppt/slides/_rels/slide5.xml.rels><?xml version="1.0" encoding="UTF-8" standalone="yes"?>
<Relationships xmlns="http://schemas.openxmlformats.org/package/2006/relationships"><Relationship Id="rId8" Type="http://schemas.openxmlformats.org/officeDocument/2006/relationships/image" Target="../media/image53.svg"/><Relationship Id="rId3" Type="http://schemas.openxmlformats.org/officeDocument/2006/relationships/image" Target="../media/image51.png"/><Relationship Id="rId7" Type="http://schemas.openxmlformats.org/officeDocument/2006/relationships/image" Target="../media/image52.png"/><Relationship Id="rId2" Type="http://schemas.openxmlformats.org/officeDocument/2006/relationships/image" Target="../media/image50.jpeg"/><Relationship Id="rId1" Type="http://schemas.openxmlformats.org/officeDocument/2006/relationships/slideLayout" Target="../slideLayouts/slideLayout14.xml"/><Relationship Id="rId6" Type="http://schemas.openxmlformats.org/officeDocument/2006/relationships/image" Target="../media/image26.jpeg"/><Relationship Id="rId11" Type="http://schemas.openxmlformats.org/officeDocument/2006/relationships/image" Target="../media/image27.jpeg"/><Relationship Id="rId5" Type="http://schemas.openxmlformats.org/officeDocument/2006/relationships/image" Target="../media/image25.jpeg"/><Relationship Id="rId10" Type="http://schemas.openxmlformats.org/officeDocument/2006/relationships/image" Target="../media/image31.jpeg"/><Relationship Id="rId4" Type="http://schemas.openxmlformats.org/officeDocument/2006/relationships/image" Target="../media/image28.jpeg"/><Relationship Id="rId9" Type="http://schemas.openxmlformats.org/officeDocument/2006/relationships/image" Target="../media/image29.jpeg"/></Relationships>
</file>

<file path=ppt/slides/_rels/slide6.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image" Target="../media/image41.png"/><Relationship Id="rId7" Type="http://schemas.openxmlformats.org/officeDocument/2006/relationships/image" Target="../media/image57.png"/><Relationship Id="rId2" Type="http://schemas.openxmlformats.org/officeDocument/2006/relationships/image" Target="../media/image54.jpeg"/><Relationship Id="rId1" Type="http://schemas.openxmlformats.org/officeDocument/2006/relationships/slideLayout" Target="../slideLayouts/slideLayout4.xml"/><Relationship Id="rId6" Type="http://schemas.openxmlformats.org/officeDocument/2006/relationships/image" Target="../media/image56.svg"/><Relationship Id="rId5" Type="http://schemas.openxmlformats.org/officeDocument/2006/relationships/image" Target="../media/image55.png"/><Relationship Id="rId10" Type="http://schemas.openxmlformats.org/officeDocument/2006/relationships/image" Target="../media/image60.png"/><Relationship Id="rId4" Type="http://schemas.openxmlformats.org/officeDocument/2006/relationships/image" Target="../media/image42.svg"/><Relationship Id="rId9" Type="http://schemas.openxmlformats.org/officeDocument/2006/relationships/image" Target="../media/image59.png"/></Relationships>
</file>

<file path=ppt/slides/_rels/slide7.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62.jpeg"/><Relationship Id="rId7" Type="http://schemas.openxmlformats.org/officeDocument/2006/relationships/image" Target="../media/image42.svg"/><Relationship Id="rId2" Type="http://schemas.openxmlformats.org/officeDocument/2006/relationships/image" Target="../media/image61.jpeg"/><Relationship Id="rId1" Type="http://schemas.openxmlformats.org/officeDocument/2006/relationships/slideLayout" Target="../slideLayouts/slideLayout4.xml"/><Relationship Id="rId6" Type="http://schemas.openxmlformats.org/officeDocument/2006/relationships/image" Target="../media/image41.png"/><Relationship Id="rId5" Type="http://schemas.openxmlformats.org/officeDocument/2006/relationships/image" Target="../media/image64.svg"/><Relationship Id="rId4" Type="http://schemas.openxmlformats.org/officeDocument/2006/relationships/image" Target="../media/image63.png"/><Relationship Id="rId9" Type="http://schemas.openxmlformats.org/officeDocument/2006/relationships/image" Target="../media/image56.svg"/></Relationships>
</file>

<file path=ppt/slides/_rels/slide8.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31.jpeg"/><Relationship Id="rId7" Type="http://schemas.openxmlformats.org/officeDocument/2006/relationships/image" Target="../media/image66.svg"/><Relationship Id="rId2" Type="http://schemas.openxmlformats.org/officeDocument/2006/relationships/image" Target="../media/image29.jpeg"/><Relationship Id="rId1" Type="http://schemas.openxmlformats.org/officeDocument/2006/relationships/slideLayout" Target="../slideLayouts/slideLayout4.xml"/><Relationship Id="rId6" Type="http://schemas.openxmlformats.org/officeDocument/2006/relationships/image" Target="../media/image65.png"/><Relationship Id="rId5" Type="http://schemas.openxmlformats.org/officeDocument/2006/relationships/image" Target="../media/image64.svg"/><Relationship Id="rId10" Type="http://schemas.openxmlformats.org/officeDocument/2006/relationships/image" Target="../media/image69.jpeg"/><Relationship Id="rId4" Type="http://schemas.openxmlformats.org/officeDocument/2006/relationships/image" Target="../media/image63.png"/><Relationship Id="rId9" Type="http://schemas.openxmlformats.org/officeDocument/2006/relationships/image" Target="../media/image68.svg"/></Relationships>
</file>

<file path=ppt/slides/_rels/slide9.xml.rels><?xml version="1.0" encoding="UTF-8" standalone="yes"?>
<Relationships xmlns="http://schemas.openxmlformats.org/package/2006/relationships"><Relationship Id="rId8" Type="http://schemas.openxmlformats.org/officeDocument/2006/relationships/image" Target="../media/image76.png"/><Relationship Id="rId13" Type="http://schemas.openxmlformats.org/officeDocument/2006/relationships/image" Target="../media/image81.svg"/><Relationship Id="rId18" Type="http://schemas.openxmlformats.org/officeDocument/2006/relationships/image" Target="../media/image86.png"/><Relationship Id="rId3" Type="http://schemas.openxmlformats.org/officeDocument/2006/relationships/image" Target="../media/image71.svg"/><Relationship Id="rId21" Type="http://schemas.openxmlformats.org/officeDocument/2006/relationships/image" Target="../media/image89.svg"/><Relationship Id="rId7" Type="http://schemas.openxmlformats.org/officeDocument/2006/relationships/image" Target="../media/image75.svg"/><Relationship Id="rId12" Type="http://schemas.openxmlformats.org/officeDocument/2006/relationships/image" Target="../media/image80.png"/><Relationship Id="rId17" Type="http://schemas.openxmlformats.org/officeDocument/2006/relationships/image" Target="../media/image85.svg"/><Relationship Id="rId2" Type="http://schemas.openxmlformats.org/officeDocument/2006/relationships/image" Target="../media/image70.png"/><Relationship Id="rId16" Type="http://schemas.openxmlformats.org/officeDocument/2006/relationships/image" Target="../media/image84.png"/><Relationship Id="rId20" Type="http://schemas.openxmlformats.org/officeDocument/2006/relationships/image" Target="../media/image88.png"/><Relationship Id="rId1" Type="http://schemas.openxmlformats.org/officeDocument/2006/relationships/slideLayout" Target="../slideLayouts/slideLayout4.xml"/><Relationship Id="rId6" Type="http://schemas.openxmlformats.org/officeDocument/2006/relationships/image" Target="../media/image74.png"/><Relationship Id="rId11" Type="http://schemas.openxmlformats.org/officeDocument/2006/relationships/image" Target="../media/image79.png"/><Relationship Id="rId5" Type="http://schemas.openxmlformats.org/officeDocument/2006/relationships/image" Target="../media/image73.svg"/><Relationship Id="rId15" Type="http://schemas.openxmlformats.org/officeDocument/2006/relationships/image" Target="../media/image83.svg"/><Relationship Id="rId10" Type="http://schemas.openxmlformats.org/officeDocument/2006/relationships/image" Target="../media/image78.png"/><Relationship Id="rId19" Type="http://schemas.openxmlformats.org/officeDocument/2006/relationships/image" Target="../media/image87.svg"/><Relationship Id="rId4" Type="http://schemas.openxmlformats.org/officeDocument/2006/relationships/image" Target="../media/image72.png"/><Relationship Id="rId9" Type="http://schemas.openxmlformats.org/officeDocument/2006/relationships/image" Target="../media/image77.svg"/><Relationship Id="rId14" Type="http://schemas.openxmlformats.org/officeDocument/2006/relationships/image" Target="../media/image8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1A720513-21D4-945E-A827-8311DA8B4263}"/>
              </a:ext>
            </a:extLst>
          </p:cNvPr>
          <p:cNvSpPr>
            <a:spLocks noGrp="1"/>
          </p:cNvSpPr>
          <p:nvPr>
            <p:ph type="ctrTitle"/>
          </p:nvPr>
        </p:nvSpPr>
        <p:spPr>
          <a:xfrm>
            <a:off x="2431737" y="2862183"/>
            <a:ext cx="6781393" cy="1914098"/>
          </a:xfrm>
        </p:spPr>
        <p:txBody>
          <a:bodyPr>
            <a:normAutofit fontScale="90000"/>
          </a:bodyPr>
          <a:lstStyle/>
          <a:p>
            <a:r>
              <a:rPr lang="it-IT" sz="4800" dirty="0">
                <a:solidFill>
                  <a:srgbClr val="415364"/>
                </a:solidFill>
                <a:latin typeface="Univers Condensed" panose="020B0506020202050204" pitchFamily="34" charset="0"/>
              </a:rPr>
              <a:t>La TUA </a:t>
            </a:r>
            <a:br>
              <a:rPr lang="it-IT" sz="4800" dirty="0">
                <a:solidFill>
                  <a:srgbClr val="415364"/>
                </a:solidFill>
                <a:latin typeface="Univers Condensed" panose="020B0506020202050204" pitchFamily="34" charset="0"/>
              </a:rPr>
            </a:br>
            <a:r>
              <a:rPr lang="it-IT" sz="6600" dirty="0">
                <a:solidFill>
                  <a:srgbClr val="415364"/>
                </a:solidFill>
                <a:latin typeface="Univers Condensed" panose="020B0506020202050204" pitchFamily="34" charset="0"/>
              </a:rPr>
              <a:t>IMPRESA </a:t>
            </a:r>
            <a:br>
              <a:rPr lang="it-IT" sz="6600" dirty="0">
                <a:solidFill>
                  <a:srgbClr val="415364"/>
                </a:solidFill>
                <a:latin typeface="Univers Condensed" panose="020B0506020202050204" pitchFamily="34" charset="0"/>
              </a:rPr>
            </a:br>
            <a:r>
              <a:rPr lang="it-IT" sz="4800" dirty="0">
                <a:solidFill>
                  <a:srgbClr val="415364"/>
                </a:solidFill>
                <a:latin typeface="Univers Condensed" panose="020B0506020202050204" pitchFamily="34" charset="0"/>
              </a:rPr>
              <a:t>è il mondo, </a:t>
            </a:r>
            <a:br>
              <a:rPr lang="it-IT" sz="4800" dirty="0">
                <a:solidFill>
                  <a:srgbClr val="415364"/>
                </a:solidFill>
                <a:latin typeface="Univers Condensed" panose="020B0506020202050204" pitchFamily="34" charset="0"/>
              </a:rPr>
            </a:br>
            <a:r>
              <a:rPr lang="it-IT" sz="4800" dirty="0">
                <a:solidFill>
                  <a:srgbClr val="415364"/>
                </a:solidFill>
                <a:latin typeface="Univers Condensed" panose="020B0506020202050204" pitchFamily="34" charset="0"/>
              </a:rPr>
              <a:t>SIMEST è al tuo fianco.</a:t>
            </a:r>
            <a:endParaRPr lang="it-IT" dirty="0">
              <a:latin typeface="Univers Condensed" panose="020B0506020202050204" pitchFamily="34" charset="0"/>
            </a:endParaRPr>
          </a:p>
        </p:txBody>
      </p:sp>
    </p:spTree>
    <p:extLst>
      <p:ext uri="{BB962C8B-B14F-4D97-AF65-F5344CB8AC3E}">
        <p14:creationId xmlns:p14="http://schemas.microsoft.com/office/powerpoint/2010/main" val="22838844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ttangolo 12">
            <a:extLst>
              <a:ext uri="{FF2B5EF4-FFF2-40B4-BE49-F238E27FC236}">
                <a16:creationId xmlns:a16="http://schemas.microsoft.com/office/drawing/2014/main" id="{3CD93B50-8D95-243C-B898-CABE1277B2E5}"/>
              </a:ext>
            </a:extLst>
          </p:cNvPr>
          <p:cNvSpPr/>
          <p:nvPr/>
        </p:nvSpPr>
        <p:spPr>
          <a:xfrm>
            <a:off x="2058279" y="5940819"/>
            <a:ext cx="8120583" cy="4421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algn="ctr" defTabSz="1178125">
              <a:lnSpc>
                <a:spcPct val="100000"/>
              </a:lnSpc>
              <a:spcBef>
                <a:spcPts val="0"/>
              </a:spcBef>
              <a:defRPr/>
            </a:pPr>
            <a:r>
              <a:rPr lang="it-IT" sz="1800" b="1" dirty="0">
                <a:solidFill>
                  <a:srgbClr val="415364"/>
                </a:solidFill>
                <a:latin typeface="Univers Condensed" panose="020B0506020202050204" pitchFamily="34" charset="0"/>
                <a:cs typeface="Arial" panose="020B0604020202020204" pitchFamily="34" charset="0"/>
              </a:rPr>
              <a:t>Credito Fornitore: </a:t>
            </a:r>
            <a:r>
              <a:rPr lang="it-IT" sz="1800" b="1" dirty="0">
                <a:solidFill>
                  <a:schemeClr val="accent2"/>
                </a:solidFill>
                <a:latin typeface="Univers Condensed" panose="020B0506020202050204" pitchFamily="34" charset="0"/>
                <a:cs typeface="Arial" panose="020B0604020202020204" pitchFamily="34" charset="0"/>
              </a:rPr>
              <a:t>ammissibilità delle fatture commerciali </a:t>
            </a:r>
            <a:r>
              <a:rPr lang="it-IT" sz="1800" b="1" dirty="0">
                <a:solidFill>
                  <a:schemeClr val="accent1"/>
                </a:solidFill>
                <a:latin typeface="Univers Condensed" panose="020B0506020202050204" pitchFamily="34" charset="0"/>
                <a:cs typeface="Arial" panose="020B0604020202020204" pitchFamily="34" charset="0"/>
              </a:rPr>
              <a:t>e</a:t>
            </a:r>
            <a:r>
              <a:rPr lang="it-IT" sz="1800" b="1" dirty="0">
                <a:solidFill>
                  <a:schemeClr val="accent2"/>
                </a:solidFill>
                <a:latin typeface="Univers Condensed" panose="020B0506020202050204" pitchFamily="34" charset="0"/>
                <a:cs typeface="Arial" panose="020B0604020202020204" pitchFamily="34" charset="0"/>
              </a:rPr>
              <a:t> contributi </a:t>
            </a:r>
          </a:p>
          <a:p>
            <a:pPr algn="ctr" defTabSz="1178125">
              <a:lnSpc>
                <a:spcPct val="100000"/>
              </a:lnSpc>
              <a:spcBef>
                <a:spcPts val="0"/>
              </a:spcBef>
              <a:defRPr/>
            </a:pPr>
            <a:r>
              <a:rPr lang="it-IT" sz="1800" b="1" dirty="0">
                <a:solidFill>
                  <a:schemeClr val="accent2"/>
                </a:solidFill>
                <a:latin typeface="Univers Condensed" panose="020B0506020202050204" pitchFamily="34" charset="0"/>
                <a:cs typeface="Arial" panose="020B0604020202020204" pitchFamily="34" charset="0"/>
              </a:rPr>
              <a:t>fino al 5% </a:t>
            </a:r>
            <a:r>
              <a:rPr lang="it-IT" sz="1800" b="1" dirty="0">
                <a:solidFill>
                  <a:srgbClr val="415364"/>
                </a:solidFill>
                <a:latin typeface="Univers Condensed" panose="020B0506020202050204" pitchFamily="34" charset="0"/>
                <a:cs typeface="Arial" panose="020B0604020202020204" pitchFamily="34" charset="0"/>
              </a:rPr>
              <a:t>per commesse export</a:t>
            </a:r>
            <a:endParaRPr lang="it-IT" sz="1800" b="1" dirty="0">
              <a:solidFill>
                <a:schemeClr val="accent2"/>
              </a:solidFill>
              <a:latin typeface="Univers Condensed" panose="020B0506020202050204" pitchFamily="34" charset="0"/>
              <a:cs typeface="Arial" panose="020B0604020202020204" pitchFamily="34" charset="0"/>
            </a:endParaRPr>
          </a:p>
        </p:txBody>
      </p:sp>
      <p:sp>
        <p:nvSpPr>
          <p:cNvPr id="4" name="Segnaposto numero diapositiva 3"/>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rPr>
              <a:pPr marL="0" marR="0" lvl="0" indent="0" algn="l" defTabSz="685800" rtl="0" eaLnBrk="1" fontAlgn="auto" latinLnBrk="0" hangingPunct="1">
                <a:lnSpc>
                  <a:spcPct val="100000"/>
                </a:lnSpc>
                <a:spcBef>
                  <a:spcPts val="0"/>
                </a:spcBef>
                <a:spcAft>
                  <a:spcPts val="0"/>
                </a:spcAft>
                <a:buClrTx/>
                <a:buSzTx/>
                <a:buFontTx/>
                <a:buNone/>
                <a:tabLst/>
                <a:defRPr/>
              </a:pPr>
              <a:t>10</a:t>
            </a:fld>
            <a:endParaRPr kumimoji="0" lang="it-IT" sz="1067" b="0" i="0" u="none" strike="noStrike" kern="1200" cap="none" spc="0" normalizeH="0" baseline="0" noProof="0" dirty="0">
              <a:ln>
                <a:noFill/>
              </a:ln>
              <a:solidFill>
                <a:srgbClr val="415064"/>
              </a:solidFill>
              <a:effectLst/>
              <a:uLnTx/>
              <a:uFillTx/>
            </a:endParaRPr>
          </a:p>
        </p:txBody>
      </p:sp>
      <p:sp>
        <p:nvSpPr>
          <p:cNvPr id="18" name="Rettangolo arrotondato 85">
            <a:extLst>
              <a:ext uri="{FF2B5EF4-FFF2-40B4-BE49-F238E27FC236}">
                <a16:creationId xmlns:a16="http://schemas.microsoft.com/office/drawing/2014/main" id="{913FCC7D-F4E3-B04E-1D35-DCAE0303BC38}"/>
              </a:ext>
            </a:extLst>
          </p:cNvPr>
          <p:cNvSpPr/>
          <p:nvPr/>
        </p:nvSpPr>
        <p:spPr>
          <a:xfrm>
            <a:off x="7673787" y="4587507"/>
            <a:ext cx="2052902"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Erogato up front in un’unica soluzione direttamente all’esportatore</a:t>
            </a:r>
          </a:p>
        </p:txBody>
      </p:sp>
      <p:sp>
        <p:nvSpPr>
          <p:cNvPr id="19" name="Rettangolo arrotondato 85">
            <a:extLst>
              <a:ext uri="{FF2B5EF4-FFF2-40B4-BE49-F238E27FC236}">
                <a16:creationId xmlns:a16="http://schemas.microsoft.com/office/drawing/2014/main" id="{2161C7A3-8D01-EB5C-855E-E2C514F0D85E}"/>
              </a:ext>
            </a:extLst>
          </p:cNvPr>
          <p:cNvSpPr/>
          <p:nvPr/>
        </p:nvSpPr>
        <p:spPr>
          <a:xfrm>
            <a:off x="3849827" y="4616500"/>
            <a:ext cx="1715317"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Tasso fiss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agevolato CIR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calcolato mensilmente dall’OCSE)</a:t>
            </a:r>
          </a:p>
        </p:txBody>
      </p:sp>
      <p:sp>
        <p:nvSpPr>
          <p:cNvPr id="20" name="Rettangolo arrotondato 85">
            <a:extLst>
              <a:ext uri="{FF2B5EF4-FFF2-40B4-BE49-F238E27FC236}">
                <a16:creationId xmlns:a16="http://schemas.microsoft.com/office/drawing/2014/main" id="{9B5635FD-91BD-8A4D-F416-CE6C46BD882C}"/>
              </a:ext>
            </a:extLst>
          </p:cNvPr>
          <p:cNvSpPr/>
          <p:nvPr/>
        </p:nvSpPr>
        <p:spPr>
          <a:xfrm>
            <a:off x="10290852" y="4583351"/>
            <a:ext cx="1529736"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Liquidità per il pagamento dei fornitori italiani</a:t>
            </a:r>
            <a:endParaRPr kumimoji="0" lang="it-IT" sz="1050" b="0"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endParaRPr>
          </a:p>
        </p:txBody>
      </p:sp>
      <p:sp>
        <p:nvSpPr>
          <p:cNvPr id="21" name="Rettangolo arrotondato 85">
            <a:extLst>
              <a:ext uri="{FF2B5EF4-FFF2-40B4-BE49-F238E27FC236}">
                <a16:creationId xmlns:a16="http://schemas.microsoft.com/office/drawing/2014/main" id="{BEE9C43A-96D3-3592-C736-176B6FD7513F}"/>
              </a:ext>
            </a:extLst>
          </p:cNvPr>
          <p:cNvSpPr/>
          <p:nvPr/>
        </p:nvSpPr>
        <p:spPr>
          <a:xfrm>
            <a:off x="1914174" y="4570842"/>
            <a:ext cx="1332299"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Dilazione di pagamento competitiva ≥ 24 mesi</a:t>
            </a:r>
          </a:p>
        </p:txBody>
      </p:sp>
      <p:pic>
        <p:nvPicPr>
          <p:cNvPr id="26" name="Immagine 25">
            <a:extLst>
              <a:ext uri="{FF2B5EF4-FFF2-40B4-BE49-F238E27FC236}">
                <a16:creationId xmlns:a16="http://schemas.microsoft.com/office/drawing/2014/main" id="{5EE46E19-C5AE-42EC-D9A9-1B43B20B563C}"/>
              </a:ext>
            </a:extLst>
          </p:cNvPr>
          <p:cNvPicPr>
            <a:picLocks noChangeAspect="1"/>
          </p:cNvPicPr>
          <p:nvPr/>
        </p:nvPicPr>
        <p:blipFill>
          <a:blip r:embed="rId3"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444758" y="4873397"/>
            <a:ext cx="484115" cy="484115"/>
          </a:xfrm>
          <a:prstGeom prst="rect">
            <a:avLst/>
          </a:prstGeom>
        </p:spPr>
      </p:pic>
      <p:pic>
        <p:nvPicPr>
          <p:cNvPr id="1026" name="Picture 2" descr="Give ">
            <a:extLst>
              <a:ext uri="{FF2B5EF4-FFF2-40B4-BE49-F238E27FC236}">
                <a16:creationId xmlns:a16="http://schemas.microsoft.com/office/drawing/2014/main" id="{8CA96780-1E85-3327-3848-ECE9FDCC6FBB}"/>
              </a:ext>
            </a:extLst>
          </p:cNvPr>
          <p:cNvPicPr>
            <a:picLocks noChangeAspect="1" noChangeArrowheads="1"/>
          </p:cNvPicPr>
          <p:nvPr/>
        </p:nvPicPr>
        <p:blipFill>
          <a:blip r:embed="rId4" cstate="email">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295982" y="4822601"/>
            <a:ext cx="525337" cy="525337"/>
          </a:xfrm>
          <a:prstGeom prst="rect">
            <a:avLst/>
          </a:prstGeom>
          <a:noFill/>
          <a:extLst>
            <a:ext uri="{909E8E84-426E-40DD-AFC4-6F175D3DCCD1}">
              <a14:hiddenFill xmlns:a14="http://schemas.microsoft.com/office/drawing/2010/main">
                <a:solidFill>
                  <a:srgbClr val="FFFFFF"/>
                </a:solidFill>
              </a14:hiddenFill>
            </a:ext>
          </a:extLst>
        </p:spPr>
      </p:pic>
      <p:pic>
        <p:nvPicPr>
          <p:cNvPr id="27" name="Immagine 26" descr="Immagine che contiene nero, oscurità&#10;&#10;Descrizione generata automaticamente">
            <a:extLst>
              <a:ext uri="{FF2B5EF4-FFF2-40B4-BE49-F238E27FC236}">
                <a16:creationId xmlns:a16="http://schemas.microsoft.com/office/drawing/2014/main" id="{0BBE7856-E2E9-962F-11A7-4968BB2352E6}"/>
              </a:ext>
            </a:extLst>
          </p:cNvPr>
          <p:cNvPicPr>
            <a:picLocks noChangeAspect="1"/>
          </p:cNvPicPr>
          <p:nvPr/>
        </p:nvPicPr>
        <p:blipFill>
          <a:blip r:embed="rId5"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3530317" y="4889531"/>
            <a:ext cx="405180" cy="405180"/>
          </a:xfrm>
          <a:prstGeom prst="rect">
            <a:avLst/>
          </a:prstGeom>
        </p:spPr>
      </p:pic>
      <p:pic>
        <p:nvPicPr>
          <p:cNvPr id="33" name="Elemento grafico 32" descr="Monete contorno">
            <a:extLst>
              <a:ext uri="{FF2B5EF4-FFF2-40B4-BE49-F238E27FC236}">
                <a16:creationId xmlns:a16="http://schemas.microsoft.com/office/drawing/2014/main" id="{3B83B1DE-2A5E-6611-787B-F3E430B814A2}"/>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748447" y="4735380"/>
            <a:ext cx="589228" cy="589228"/>
          </a:xfrm>
          <a:prstGeom prst="rect">
            <a:avLst/>
          </a:prstGeom>
        </p:spPr>
      </p:pic>
      <p:sp>
        <p:nvSpPr>
          <p:cNvPr id="5" name="Segnaposto testo 25">
            <a:extLst>
              <a:ext uri="{FF2B5EF4-FFF2-40B4-BE49-F238E27FC236}">
                <a16:creationId xmlns:a16="http://schemas.microsoft.com/office/drawing/2014/main" id="{722C4DF3-1543-6C52-F75F-DFC45858E948}"/>
              </a:ext>
            </a:extLst>
          </p:cNvPr>
          <p:cNvSpPr txBox="1">
            <a:spLocks/>
          </p:cNvSpPr>
          <p:nvPr/>
        </p:nvSpPr>
        <p:spPr bwMode="auto">
          <a:xfrm>
            <a:off x="1665684" y="2729005"/>
            <a:ext cx="2942331" cy="521959"/>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5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CONTRIBUTO EXPORT SU </a:t>
            </a:r>
          </a:p>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5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CREDITO ACQUIRENTE</a:t>
            </a:r>
          </a:p>
        </p:txBody>
      </p:sp>
      <p:sp>
        <p:nvSpPr>
          <p:cNvPr id="6" name="Rettangolo 19">
            <a:extLst>
              <a:ext uri="{FF2B5EF4-FFF2-40B4-BE49-F238E27FC236}">
                <a16:creationId xmlns:a16="http://schemas.microsoft.com/office/drawing/2014/main" id="{21E7C47A-524E-0ECD-A6FE-00F886D76CE4}"/>
              </a:ext>
            </a:extLst>
          </p:cNvPr>
          <p:cNvSpPr>
            <a:spLocks noChangeArrowheads="1"/>
          </p:cNvSpPr>
          <p:nvPr/>
        </p:nvSpPr>
        <p:spPr bwMode="auto">
          <a:xfrm>
            <a:off x="6673472" y="3245996"/>
            <a:ext cx="4642765" cy="738664"/>
          </a:xfrm>
          <a:prstGeom prst="rect">
            <a:avLst/>
          </a:prstGeom>
          <a:noFill/>
          <a:ln>
            <a:noFill/>
          </a:ln>
          <a:extLst>
            <a:ext uri="{909E8E84-426E-40dd-AFC4-6F175D3DCCD1}"/>
            <a:ext uri="{91240B29-F687-4f45-9708-019B960494DF}"/>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Contributo a fondo perduto a copertura del tasso di sconto dei titoli di pagamento per </a:t>
            </a:r>
            <a:r>
              <a:rPr kumimoji="0" lang="it-IT" sz="14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l’ottenimento da parte dei fornitori italiani di </a:t>
            </a:r>
            <a:r>
              <a:rPr kumimoji="0" lang="it-IT" sz="1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liquidità immediata</a:t>
            </a:r>
            <a:endParaRPr kumimoji="0" lang="it-IT" altLang="it-IT" sz="1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endParaRPr>
          </a:p>
        </p:txBody>
      </p:sp>
      <p:sp>
        <p:nvSpPr>
          <p:cNvPr id="7" name="Rettangolo 50">
            <a:extLst>
              <a:ext uri="{FF2B5EF4-FFF2-40B4-BE49-F238E27FC236}">
                <a16:creationId xmlns:a16="http://schemas.microsoft.com/office/drawing/2014/main" id="{85474927-3480-1FEC-0483-CF344EB18ECC}"/>
              </a:ext>
            </a:extLst>
          </p:cNvPr>
          <p:cNvSpPr>
            <a:spLocks noChangeArrowheads="1"/>
          </p:cNvSpPr>
          <p:nvPr/>
        </p:nvSpPr>
        <p:spPr bwMode="auto">
          <a:xfrm>
            <a:off x="794684" y="3276707"/>
            <a:ext cx="4684333" cy="738664"/>
          </a:xfrm>
          <a:prstGeom prst="rect">
            <a:avLst/>
          </a:prstGeom>
          <a:noFill/>
          <a:ln>
            <a:noFill/>
          </a:ln>
          <a:extLst>
            <a:ext uri="{909E8E84-426E-40dd-AFC4-6F175D3DCCD1}"/>
            <a:ext uri="{91240B29-F687-4f45-9708-019B960494DF}"/>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Contributo a fondo perduto </a:t>
            </a:r>
            <a:r>
              <a:rPr kumimoji="0" lang="it-IT" sz="14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con</a:t>
            </a:r>
            <a:r>
              <a:rPr kumimoji="0" lang="it-IT" sz="14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 stabilizzazione del finanziamento a tasso fisso agevolato per la </a:t>
            </a:r>
            <a:r>
              <a:rPr kumimoji="0" lang="it-IT" sz="1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riduzione dei costi finanziari </a:t>
            </a:r>
            <a:r>
              <a:rPr kumimoji="0" lang="it-IT" sz="14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sostenuti dai clienti esteri </a:t>
            </a:r>
          </a:p>
        </p:txBody>
      </p:sp>
      <p:sp>
        <p:nvSpPr>
          <p:cNvPr id="16" name="Segnaposto testo 25">
            <a:extLst>
              <a:ext uri="{FF2B5EF4-FFF2-40B4-BE49-F238E27FC236}">
                <a16:creationId xmlns:a16="http://schemas.microsoft.com/office/drawing/2014/main" id="{573D6F7C-27EB-06A9-33DC-03EBA8631F81}"/>
              </a:ext>
            </a:extLst>
          </p:cNvPr>
          <p:cNvSpPr txBox="1">
            <a:spLocks/>
          </p:cNvSpPr>
          <p:nvPr/>
        </p:nvSpPr>
        <p:spPr bwMode="auto">
          <a:xfrm>
            <a:off x="7370671" y="2734973"/>
            <a:ext cx="3193355" cy="521959"/>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5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CONTRIBUTO EXPORT SU </a:t>
            </a:r>
          </a:p>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5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CREDITO FORNITORE</a:t>
            </a:r>
          </a:p>
        </p:txBody>
      </p:sp>
      <p:sp>
        <p:nvSpPr>
          <p:cNvPr id="11" name="Segnaposto testo 25">
            <a:extLst>
              <a:ext uri="{FF2B5EF4-FFF2-40B4-BE49-F238E27FC236}">
                <a16:creationId xmlns:a16="http://schemas.microsoft.com/office/drawing/2014/main" id="{557C2479-1325-4CB2-F999-EDE1DFE782EB}"/>
              </a:ext>
            </a:extLst>
          </p:cNvPr>
          <p:cNvSpPr txBox="1">
            <a:spLocks/>
          </p:cNvSpPr>
          <p:nvPr/>
        </p:nvSpPr>
        <p:spPr bwMode="auto">
          <a:xfrm>
            <a:off x="10254840" y="5501655"/>
            <a:ext cx="1601760" cy="228501"/>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200" b="0" i="0" u="none" strike="noStrike" kern="1200" cap="none" spc="0" normalizeH="0" baseline="0" noProof="0" dirty="0">
                <a:ln>
                  <a:noFill/>
                </a:ln>
                <a:solidFill>
                  <a:srgbClr val="797979"/>
                </a:solidFill>
                <a:effectLst/>
                <a:uLnTx/>
                <a:uFillTx/>
                <a:latin typeface="Univers Condensed" panose="020B0506020202050204" pitchFamily="34" charset="0"/>
                <a:ea typeface="+mn-ea"/>
                <a:cs typeface="+mn-cs"/>
              </a:rPr>
              <a:t>Credito Fornitore</a:t>
            </a:r>
          </a:p>
        </p:txBody>
      </p:sp>
      <p:sp>
        <p:nvSpPr>
          <p:cNvPr id="17" name="Rettangolo arrotondato 85">
            <a:extLst>
              <a:ext uri="{FF2B5EF4-FFF2-40B4-BE49-F238E27FC236}">
                <a16:creationId xmlns:a16="http://schemas.microsoft.com/office/drawing/2014/main" id="{42C86EAC-EE04-6999-78FE-262BF2A27C38}"/>
              </a:ext>
            </a:extLst>
          </p:cNvPr>
          <p:cNvSpPr/>
          <p:nvPr/>
        </p:nvSpPr>
        <p:spPr>
          <a:xfrm>
            <a:off x="5848987" y="4552158"/>
            <a:ext cx="1590351"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Access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gratuito agli strumenti</a:t>
            </a:r>
            <a:endParaRPr kumimoji="0" lang="it-IT" sz="1050" b="0"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endParaRPr>
          </a:p>
        </p:txBody>
      </p:sp>
      <p:pic>
        <p:nvPicPr>
          <p:cNvPr id="25" name="Elemento grafico 24" descr="Etichetta contorno">
            <a:extLst>
              <a:ext uri="{FF2B5EF4-FFF2-40B4-BE49-F238E27FC236}">
                <a16:creationId xmlns:a16="http://schemas.microsoft.com/office/drawing/2014/main" id="{1C8158A9-B3E0-F7DA-09A8-6463C51C3CE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652865" y="4823327"/>
            <a:ext cx="465706" cy="465706"/>
          </a:xfrm>
          <a:prstGeom prst="rect">
            <a:avLst/>
          </a:prstGeom>
        </p:spPr>
      </p:pic>
      <p:sp>
        <p:nvSpPr>
          <p:cNvPr id="39" name="Segnaposto testo 25">
            <a:extLst>
              <a:ext uri="{FF2B5EF4-FFF2-40B4-BE49-F238E27FC236}">
                <a16:creationId xmlns:a16="http://schemas.microsoft.com/office/drawing/2014/main" id="{9CB42950-67E5-99DC-F265-7B534BD360A4}"/>
              </a:ext>
            </a:extLst>
          </p:cNvPr>
          <p:cNvSpPr txBox="1">
            <a:spLocks/>
          </p:cNvSpPr>
          <p:nvPr/>
        </p:nvSpPr>
        <p:spPr bwMode="auto">
          <a:xfrm>
            <a:off x="7880986" y="5511723"/>
            <a:ext cx="1601760" cy="228501"/>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200" b="0" i="0" u="none" strike="noStrike" kern="1200" cap="none" spc="0" normalizeH="0" baseline="0" noProof="0" dirty="0">
                <a:ln>
                  <a:noFill/>
                </a:ln>
                <a:solidFill>
                  <a:srgbClr val="797979"/>
                </a:solidFill>
                <a:effectLst/>
                <a:uLnTx/>
                <a:uFillTx/>
                <a:latin typeface="Univers Condensed" panose="020B0506020202050204" pitchFamily="34" charset="0"/>
                <a:ea typeface="+mn-ea"/>
                <a:cs typeface="+mn-cs"/>
              </a:rPr>
              <a:t>Credito Fornitore</a:t>
            </a:r>
          </a:p>
        </p:txBody>
      </p:sp>
      <p:sp>
        <p:nvSpPr>
          <p:cNvPr id="49" name="Segnaposto testo 25">
            <a:extLst>
              <a:ext uri="{FF2B5EF4-FFF2-40B4-BE49-F238E27FC236}">
                <a16:creationId xmlns:a16="http://schemas.microsoft.com/office/drawing/2014/main" id="{D0D6CCED-C147-2792-C42B-8C2B03710DF7}"/>
              </a:ext>
            </a:extLst>
          </p:cNvPr>
          <p:cNvSpPr txBox="1">
            <a:spLocks/>
          </p:cNvSpPr>
          <p:nvPr/>
        </p:nvSpPr>
        <p:spPr bwMode="auto">
          <a:xfrm>
            <a:off x="1672791" y="5523856"/>
            <a:ext cx="1601760" cy="228501"/>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200" b="0" i="0" u="none" strike="noStrike" kern="1200" cap="none" spc="0" normalizeH="0" baseline="0" noProof="0" dirty="0">
                <a:ln>
                  <a:noFill/>
                </a:ln>
                <a:solidFill>
                  <a:srgbClr val="797979"/>
                </a:solidFill>
                <a:effectLst/>
                <a:uLnTx/>
                <a:uFillTx/>
                <a:latin typeface="Univers Condensed" panose="020B0506020202050204" pitchFamily="34" charset="0"/>
                <a:ea typeface="+mn-ea"/>
                <a:cs typeface="+mn-cs"/>
              </a:rPr>
              <a:t>Tutti gli strumenti</a:t>
            </a:r>
          </a:p>
        </p:txBody>
      </p:sp>
      <p:sp>
        <p:nvSpPr>
          <p:cNvPr id="50" name="Segnaposto testo 25">
            <a:extLst>
              <a:ext uri="{FF2B5EF4-FFF2-40B4-BE49-F238E27FC236}">
                <a16:creationId xmlns:a16="http://schemas.microsoft.com/office/drawing/2014/main" id="{0A183D38-246A-777B-3496-588575C59D82}"/>
              </a:ext>
            </a:extLst>
          </p:cNvPr>
          <p:cNvSpPr txBox="1">
            <a:spLocks/>
          </p:cNvSpPr>
          <p:nvPr/>
        </p:nvSpPr>
        <p:spPr bwMode="auto">
          <a:xfrm>
            <a:off x="3884731" y="5517860"/>
            <a:ext cx="1601760" cy="228501"/>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200" b="0" i="0" u="none" strike="noStrike" kern="1200" cap="none" spc="0" normalizeH="0" baseline="0" noProof="0" dirty="0">
                <a:ln>
                  <a:noFill/>
                </a:ln>
                <a:solidFill>
                  <a:srgbClr val="797979"/>
                </a:solidFill>
                <a:effectLst/>
                <a:uLnTx/>
                <a:uFillTx/>
                <a:latin typeface="Univers Condensed" panose="020B0506020202050204" pitchFamily="34" charset="0"/>
                <a:ea typeface="+mn-ea"/>
                <a:cs typeface="+mn-cs"/>
              </a:rPr>
              <a:t>Tutti gli strumenti</a:t>
            </a:r>
          </a:p>
        </p:txBody>
      </p:sp>
      <p:sp>
        <p:nvSpPr>
          <p:cNvPr id="51" name="Segnaposto testo 25">
            <a:extLst>
              <a:ext uri="{FF2B5EF4-FFF2-40B4-BE49-F238E27FC236}">
                <a16:creationId xmlns:a16="http://schemas.microsoft.com/office/drawing/2014/main" id="{E249FE6D-1A19-D606-AD18-62E9C2257288}"/>
              </a:ext>
            </a:extLst>
          </p:cNvPr>
          <p:cNvSpPr txBox="1">
            <a:spLocks/>
          </p:cNvSpPr>
          <p:nvPr/>
        </p:nvSpPr>
        <p:spPr bwMode="auto">
          <a:xfrm>
            <a:off x="5804118" y="5525642"/>
            <a:ext cx="1601760" cy="228501"/>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200" b="0" i="0" u="none" strike="noStrike" kern="1200" cap="none" spc="0" normalizeH="0" baseline="0" noProof="0" dirty="0">
                <a:ln>
                  <a:noFill/>
                </a:ln>
                <a:solidFill>
                  <a:srgbClr val="797979"/>
                </a:solidFill>
                <a:effectLst/>
                <a:uLnTx/>
                <a:uFillTx/>
                <a:latin typeface="Univers Condensed" panose="020B0506020202050204" pitchFamily="34" charset="0"/>
                <a:ea typeface="+mn-ea"/>
                <a:cs typeface="+mn-cs"/>
              </a:rPr>
              <a:t>Tutti gli strumenti</a:t>
            </a:r>
          </a:p>
        </p:txBody>
      </p:sp>
      <p:sp>
        <p:nvSpPr>
          <p:cNvPr id="14" name="Segnaposto testo 1">
            <a:extLst>
              <a:ext uri="{FF2B5EF4-FFF2-40B4-BE49-F238E27FC236}">
                <a16:creationId xmlns:a16="http://schemas.microsoft.com/office/drawing/2014/main" id="{2C9CF4FA-FFC1-8340-E30E-61ECB20D473B}"/>
              </a:ext>
            </a:extLst>
          </p:cNvPr>
          <p:cNvSpPr>
            <a:spLocks noGrp="1"/>
          </p:cNvSpPr>
          <p:nvPr>
            <p:ph type="body" idx="13"/>
          </p:nvPr>
        </p:nvSpPr>
        <p:spPr>
          <a:xfrm>
            <a:off x="334433" y="297158"/>
            <a:ext cx="8593667" cy="383116"/>
          </a:xfrm>
        </p:spPr>
        <p:txBody>
          <a:bodyPr/>
          <a:lstStyle/>
          <a:p>
            <a:r>
              <a:rPr lang="it-IT" sz="2800" dirty="0"/>
              <a:t>Supporto Credito all’Export</a:t>
            </a:r>
          </a:p>
        </p:txBody>
      </p:sp>
      <p:sp>
        <p:nvSpPr>
          <p:cNvPr id="15" name="Rettangolo 14">
            <a:extLst>
              <a:ext uri="{FF2B5EF4-FFF2-40B4-BE49-F238E27FC236}">
                <a16:creationId xmlns:a16="http://schemas.microsoft.com/office/drawing/2014/main" id="{C48D9DFC-D330-F81C-4B3C-303F141C6E93}"/>
              </a:ext>
            </a:extLst>
          </p:cNvPr>
          <p:cNvSpPr/>
          <p:nvPr/>
        </p:nvSpPr>
        <p:spPr>
          <a:xfrm>
            <a:off x="0" y="762615"/>
            <a:ext cx="12192000" cy="101566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Contributi export* </a:t>
            </a:r>
            <a:r>
              <a:rPr kumimoji="0" lang="it-IT" sz="20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a sostegno delle </a:t>
            </a:r>
            <a:r>
              <a:rPr kumimoji="0" lang="it-IT" sz="2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esportazioni di beni di investimento e serviz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Abbattimento dei costi finanziari per migliorare la </a:t>
            </a:r>
            <a:r>
              <a:rPr kumimoji="0" lang="it-IT" sz="20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competitività dell’export italiano</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23" name="CasellaDiTesto 22">
            <a:extLst>
              <a:ext uri="{FF2B5EF4-FFF2-40B4-BE49-F238E27FC236}">
                <a16:creationId xmlns:a16="http://schemas.microsoft.com/office/drawing/2014/main" id="{32705352-3356-4918-75FB-E90DF43C4357}"/>
              </a:ext>
            </a:extLst>
          </p:cNvPr>
          <p:cNvSpPr txBox="1"/>
          <p:nvPr/>
        </p:nvSpPr>
        <p:spPr>
          <a:xfrm>
            <a:off x="382172" y="6461008"/>
            <a:ext cx="4268177"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900" b="0" i="1"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 Risorse a valere su fondi pubblici gestiti da SIMEST per conto del MAECI</a:t>
            </a:r>
          </a:p>
        </p:txBody>
      </p:sp>
      <p:pic>
        <p:nvPicPr>
          <p:cNvPr id="24" name="Picture 2" descr="Oli per macchine tessili - Brescia - Avogadro">
            <a:extLst>
              <a:ext uri="{FF2B5EF4-FFF2-40B4-BE49-F238E27FC236}">
                <a16:creationId xmlns:a16="http://schemas.microsoft.com/office/drawing/2014/main" id="{FD29AC0E-9A88-8A58-848F-9C7155CCB62A}"/>
              </a:ext>
            </a:extLst>
          </p:cNvPr>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7058100" y="1532620"/>
            <a:ext cx="3966634" cy="1114946"/>
          </a:xfrm>
          <a:prstGeom prst="rect">
            <a:avLst/>
          </a:prstGeom>
          <a:noFill/>
          <a:extLst>
            <a:ext uri="{909E8E84-426E-40DD-AFC4-6F175D3DCCD1}">
              <a14:hiddenFill xmlns:a14="http://schemas.microsoft.com/office/drawing/2010/main">
                <a:solidFill>
                  <a:srgbClr val="FFFFFF"/>
                </a:solidFill>
              </a14:hiddenFill>
            </a:ext>
          </a:extLst>
        </p:spPr>
      </p:pic>
      <p:sp>
        <p:nvSpPr>
          <p:cNvPr id="35" name="CasellaDiTesto 34">
            <a:extLst>
              <a:ext uri="{FF2B5EF4-FFF2-40B4-BE49-F238E27FC236}">
                <a16:creationId xmlns:a16="http://schemas.microsoft.com/office/drawing/2014/main" id="{CE0D6DDF-576D-8818-C72C-60884DA4D628}"/>
              </a:ext>
            </a:extLst>
          </p:cNvPr>
          <p:cNvSpPr txBox="1"/>
          <p:nvPr/>
        </p:nvSpPr>
        <p:spPr>
          <a:xfrm>
            <a:off x="857702" y="4035591"/>
            <a:ext cx="4402775" cy="485928"/>
          </a:xfrm>
          <a:prstGeom prst="rect">
            <a:avLst/>
          </a:prstGeom>
          <a:solidFill>
            <a:srgbClr val="EDEDED"/>
          </a:solidFill>
          <a:ln w="6350">
            <a:noFill/>
            <a:prstDash val="dash"/>
          </a:ln>
        </p:spPr>
        <p:txBody>
          <a:bodyPr vert="horz" wrap="square" lIns="91440" tIns="45720" rIns="91440" bIns="4572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   Operatività attivabile anche su </a:t>
            </a:r>
            <a:r>
              <a:rPr kumimoji="0" lang="it-IT" sz="1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Lettere di Credito Export</a:t>
            </a:r>
          </a:p>
        </p:txBody>
      </p:sp>
      <p:grpSp>
        <p:nvGrpSpPr>
          <p:cNvPr id="36" name="Gruppo 35">
            <a:extLst>
              <a:ext uri="{FF2B5EF4-FFF2-40B4-BE49-F238E27FC236}">
                <a16:creationId xmlns:a16="http://schemas.microsoft.com/office/drawing/2014/main" id="{1F4ADE17-56CE-A11C-0807-6E2B5BFAE627}"/>
              </a:ext>
            </a:extLst>
          </p:cNvPr>
          <p:cNvGrpSpPr>
            <a:grpSpLocks noChangeAspect="1"/>
          </p:cNvGrpSpPr>
          <p:nvPr/>
        </p:nvGrpSpPr>
        <p:grpSpPr>
          <a:xfrm>
            <a:off x="692496" y="3951618"/>
            <a:ext cx="356777" cy="356777"/>
            <a:chOff x="688228" y="5442273"/>
            <a:chExt cx="435570" cy="435570"/>
          </a:xfrm>
        </p:grpSpPr>
        <p:sp>
          <p:nvSpPr>
            <p:cNvPr id="37" name="Ovale 36">
              <a:extLst>
                <a:ext uri="{FF2B5EF4-FFF2-40B4-BE49-F238E27FC236}">
                  <a16:creationId xmlns:a16="http://schemas.microsoft.com/office/drawing/2014/main" id="{3970B4A6-8317-6B09-5F08-157D14384E6D}"/>
                </a:ext>
              </a:extLst>
            </p:cNvPr>
            <p:cNvSpPr>
              <a:spLocks noChangeAspect="1"/>
            </p:cNvSpPr>
            <p:nvPr/>
          </p:nvSpPr>
          <p:spPr>
            <a:xfrm>
              <a:off x="716047" y="5467221"/>
              <a:ext cx="379931" cy="3799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Univers Condensed" panose="020B0506020202050204" pitchFamily="34" charset="0"/>
                <a:ea typeface="+mn-ea"/>
                <a:cs typeface="+mn-cs"/>
              </a:endParaRPr>
            </a:p>
          </p:txBody>
        </p:sp>
        <p:pic>
          <p:nvPicPr>
            <p:cNvPr id="38" name="Immagine 37">
              <a:extLst>
                <a:ext uri="{FF2B5EF4-FFF2-40B4-BE49-F238E27FC236}">
                  <a16:creationId xmlns:a16="http://schemas.microsoft.com/office/drawing/2014/main" id="{DE604F9B-D512-0ED8-0F1E-7EA38D71017E}"/>
                </a:ext>
              </a:extLst>
            </p:cNvPr>
            <p:cNvPicPr>
              <a:picLocks noChangeAspect="1"/>
            </p:cNvPicPr>
            <p:nvPr/>
          </p:nvPicPr>
          <p:blipFill>
            <a:blip r:embed="rId11"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88228" y="5442273"/>
              <a:ext cx="435570" cy="435570"/>
            </a:xfrm>
            <a:prstGeom prst="rect">
              <a:avLst/>
            </a:prstGeom>
          </p:spPr>
        </p:pic>
      </p:grpSp>
      <p:sp>
        <p:nvSpPr>
          <p:cNvPr id="41" name="CasellaDiTesto 40">
            <a:extLst>
              <a:ext uri="{FF2B5EF4-FFF2-40B4-BE49-F238E27FC236}">
                <a16:creationId xmlns:a16="http://schemas.microsoft.com/office/drawing/2014/main" id="{A77D3C78-0D58-6F92-37A5-3C7C31BC1DE6}"/>
              </a:ext>
            </a:extLst>
          </p:cNvPr>
          <p:cNvSpPr txBox="1"/>
          <p:nvPr/>
        </p:nvSpPr>
        <p:spPr>
          <a:xfrm>
            <a:off x="6865877" y="4031621"/>
            <a:ext cx="4402775" cy="482760"/>
          </a:xfrm>
          <a:prstGeom prst="rect">
            <a:avLst/>
          </a:prstGeom>
          <a:solidFill>
            <a:srgbClr val="EDEDED"/>
          </a:solidFill>
          <a:ln w="6350">
            <a:noFill/>
            <a:prstDash val="dash"/>
          </a:ln>
        </p:spPr>
        <p:txBody>
          <a:bodyPr vert="horz" wrap="square" lIns="91440" tIns="45720" rIns="91440" bIns="45720" rtlCol="0" anchor="ctr">
            <a:normAutofit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    Operatività attivabile anche per </a:t>
            </a:r>
            <a:r>
              <a:rPr kumimoji="0" lang="it-IT" sz="1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contratti di Leasing all’Esportazione</a:t>
            </a:r>
          </a:p>
        </p:txBody>
      </p:sp>
      <p:grpSp>
        <p:nvGrpSpPr>
          <p:cNvPr id="42" name="Gruppo 41">
            <a:extLst>
              <a:ext uri="{FF2B5EF4-FFF2-40B4-BE49-F238E27FC236}">
                <a16:creationId xmlns:a16="http://schemas.microsoft.com/office/drawing/2014/main" id="{7259C763-6E03-18BE-7EFD-6BEF99F5DC93}"/>
              </a:ext>
            </a:extLst>
          </p:cNvPr>
          <p:cNvGrpSpPr>
            <a:grpSpLocks noChangeAspect="1"/>
          </p:cNvGrpSpPr>
          <p:nvPr/>
        </p:nvGrpSpPr>
        <p:grpSpPr>
          <a:xfrm>
            <a:off x="6700671" y="3947648"/>
            <a:ext cx="356777" cy="356777"/>
            <a:chOff x="688228" y="5442273"/>
            <a:chExt cx="435570" cy="435570"/>
          </a:xfrm>
        </p:grpSpPr>
        <p:sp>
          <p:nvSpPr>
            <p:cNvPr id="43" name="Ovale 42">
              <a:extLst>
                <a:ext uri="{FF2B5EF4-FFF2-40B4-BE49-F238E27FC236}">
                  <a16:creationId xmlns:a16="http://schemas.microsoft.com/office/drawing/2014/main" id="{5EBE6970-05D3-EA02-0A06-994768EE7483}"/>
                </a:ext>
              </a:extLst>
            </p:cNvPr>
            <p:cNvSpPr>
              <a:spLocks noChangeAspect="1"/>
            </p:cNvSpPr>
            <p:nvPr/>
          </p:nvSpPr>
          <p:spPr>
            <a:xfrm>
              <a:off x="716047" y="5467221"/>
              <a:ext cx="379931" cy="3799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Univers Condensed" panose="020B0506020202050204" pitchFamily="34" charset="0"/>
                <a:ea typeface="+mn-ea"/>
                <a:cs typeface="+mn-cs"/>
              </a:endParaRPr>
            </a:p>
          </p:txBody>
        </p:sp>
        <p:pic>
          <p:nvPicPr>
            <p:cNvPr id="44" name="Immagine 43">
              <a:extLst>
                <a:ext uri="{FF2B5EF4-FFF2-40B4-BE49-F238E27FC236}">
                  <a16:creationId xmlns:a16="http://schemas.microsoft.com/office/drawing/2014/main" id="{19BA5D2A-8E27-DF9D-D62A-C9333ADDA447}"/>
                </a:ext>
              </a:extLst>
            </p:cNvPr>
            <p:cNvPicPr>
              <a:picLocks noChangeAspect="1"/>
            </p:cNvPicPr>
            <p:nvPr/>
          </p:nvPicPr>
          <p:blipFill>
            <a:blip r:embed="rId11"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88228" y="5442273"/>
              <a:ext cx="435570" cy="435570"/>
            </a:xfrm>
            <a:prstGeom prst="rect">
              <a:avLst/>
            </a:prstGeom>
          </p:spPr>
        </p:pic>
      </p:grpSp>
      <p:pic>
        <p:nvPicPr>
          <p:cNvPr id="8" name="Immagine 7" descr="Banchina commerciale con nave portacontainer per trasporto merci e gru che scarica nave">
            <a:extLst>
              <a:ext uri="{FF2B5EF4-FFF2-40B4-BE49-F238E27FC236}">
                <a16:creationId xmlns:a16="http://schemas.microsoft.com/office/drawing/2014/main" id="{3A733247-9A3C-5E19-A5B1-6C07BCCF88B0}"/>
              </a:ext>
            </a:extLst>
          </p:cNvPr>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1155471" y="1542022"/>
            <a:ext cx="3962755" cy="1096142"/>
          </a:xfrm>
          <a:prstGeom prst="rect">
            <a:avLst/>
          </a:prstGeom>
        </p:spPr>
      </p:pic>
      <p:sp>
        <p:nvSpPr>
          <p:cNvPr id="2" name="CasellaDiTesto 1">
            <a:extLst>
              <a:ext uri="{FF2B5EF4-FFF2-40B4-BE49-F238E27FC236}">
                <a16:creationId xmlns:a16="http://schemas.microsoft.com/office/drawing/2014/main" id="{F6730F9D-3EA1-F71F-6189-8098E3AE23FE}"/>
              </a:ext>
            </a:extLst>
          </p:cNvPr>
          <p:cNvSpPr txBox="1"/>
          <p:nvPr/>
        </p:nvSpPr>
        <p:spPr>
          <a:xfrm>
            <a:off x="29279" y="4592551"/>
            <a:ext cx="1152983" cy="1017796"/>
          </a:xfrm>
          <a:prstGeom prst="rect">
            <a:avLst/>
          </a:prstGeom>
          <a:solidFill>
            <a:schemeClr val="bg1"/>
          </a:solidFill>
        </p:spPr>
        <p:txBody>
          <a:bodyPr wrap="square" anchor="ctr" anchorCtr="0">
            <a:noAutofit/>
          </a:bodyPr>
          <a:lstStyle>
            <a:defPPr>
              <a:defRPr lang="it-IT"/>
            </a:defPPr>
            <a:lvl1pPr marR="0" lvl="0" indent="0" algn="ctr" fontAlgn="auto">
              <a:lnSpc>
                <a:spcPct val="100000"/>
              </a:lnSpc>
              <a:spcBef>
                <a:spcPts val="0"/>
              </a:spcBef>
              <a:spcAft>
                <a:spcPts val="0"/>
              </a:spcAft>
              <a:buClrTx/>
              <a:buSzTx/>
              <a:buFontTx/>
              <a:buNone/>
              <a:tabLst/>
              <a:defRPr kumimoji="0" sz="1600" b="1" i="0" u="none" strike="noStrike" cap="none" spc="0" normalizeH="0" baseline="0">
                <a:ln>
                  <a:noFill/>
                </a:ln>
                <a:solidFill>
                  <a:srgbClr val="415364"/>
                </a:solidFill>
                <a:effectLst/>
                <a:uLnTx/>
                <a:uFillTx/>
                <a:latin typeface="Arial" panose="020B0604020202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BENEFICI</a:t>
            </a:r>
          </a:p>
        </p:txBody>
      </p:sp>
      <p:pic>
        <p:nvPicPr>
          <p:cNvPr id="3" name="Elemento grafico 2" descr="Accento circonflesso verso destra con riempimento a tinta unita">
            <a:extLst>
              <a:ext uri="{FF2B5EF4-FFF2-40B4-BE49-F238E27FC236}">
                <a16:creationId xmlns:a16="http://schemas.microsoft.com/office/drawing/2014/main" id="{6234817A-2D2B-850A-3C24-880C67438067}"/>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980602" y="4750098"/>
            <a:ext cx="519453" cy="712189"/>
          </a:xfrm>
          <a:prstGeom prst="rect">
            <a:avLst/>
          </a:prstGeom>
        </p:spPr>
      </p:pic>
      <p:pic>
        <p:nvPicPr>
          <p:cNvPr id="9" name="Immagine 8" descr="Immagine che contiene testo, schermata, logo, simbolo&#10;&#10;Descrizione generata automaticamente">
            <a:extLst>
              <a:ext uri="{FF2B5EF4-FFF2-40B4-BE49-F238E27FC236}">
                <a16:creationId xmlns:a16="http://schemas.microsoft.com/office/drawing/2014/main" id="{C50DE886-EBAA-8251-71B3-71BFDFD3B181}"/>
              </a:ext>
            </a:extLst>
          </p:cNvPr>
          <p:cNvPicPr>
            <a:picLocks noChangeAspect="1"/>
          </p:cNvPicPr>
          <p:nvPr/>
        </p:nvPicPr>
        <p:blipFill>
          <a:blip r:embed="rId15" cstate="screen">
            <a:extLst>
              <a:ext uri="{28A0092B-C50C-407E-A947-70E740481C1C}">
                <a14:useLocalDpi xmlns:a14="http://schemas.microsoft.com/office/drawing/2010/main" val="0"/>
              </a:ext>
            </a:extLst>
          </a:blip>
          <a:stretch>
            <a:fillRect/>
          </a:stretch>
        </p:blipFill>
        <p:spPr>
          <a:xfrm>
            <a:off x="11044104" y="105942"/>
            <a:ext cx="959177" cy="679417"/>
          </a:xfrm>
          <a:prstGeom prst="rect">
            <a:avLst/>
          </a:prstGeom>
        </p:spPr>
      </p:pic>
      <p:sp>
        <p:nvSpPr>
          <p:cNvPr id="10" name="Rettangolo arrotondato 85">
            <a:extLst>
              <a:ext uri="{FF2B5EF4-FFF2-40B4-BE49-F238E27FC236}">
                <a16:creationId xmlns:a16="http://schemas.microsoft.com/office/drawing/2014/main" id="{214A76D3-CFB5-0D5B-C9FA-D2EB7C93EB5E}"/>
              </a:ext>
            </a:extLst>
          </p:cNvPr>
          <p:cNvSpPr/>
          <p:nvPr/>
        </p:nvSpPr>
        <p:spPr>
          <a:xfrm>
            <a:off x="10305815" y="2732223"/>
            <a:ext cx="1105812" cy="471396"/>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ctr">
              <a:defRPr/>
            </a:pPr>
            <a:r>
              <a:rPr lang="it-IT" sz="1050" b="1" dirty="0">
                <a:solidFill>
                  <a:schemeClr val="bg1"/>
                </a:solidFill>
                <a:latin typeface="Univers Condensed" panose="020B0506020202050204" pitchFamily="34" charset="0"/>
              </a:rPr>
              <a:t>NEW</a:t>
            </a:r>
          </a:p>
          <a:p>
            <a:pPr marL="266700" algn="ctr">
              <a:defRPr/>
            </a:pPr>
            <a:r>
              <a:rPr lang="it-IT" sz="900" b="1" dirty="0" err="1">
                <a:solidFill>
                  <a:schemeClr val="bg1"/>
                </a:solidFill>
                <a:latin typeface="Univers Condensed" panose="020B0506020202050204" pitchFamily="34" charset="0"/>
              </a:rPr>
              <a:t>Onboarding</a:t>
            </a:r>
            <a:r>
              <a:rPr lang="it-IT" sz="900" b="1" dirty="0">
                <a:solidFill>
                  <a:schemeClr val="bg1"/>
                </a:solidFill>
                <a:latin typeface="Univers Condensed" panose="020B0506020202050204" pitchFamily="34" charset="0"/>
              </a:rPr>
              <a:t> digitalizzato</a:t>
            </a:r>
          </a:p>
        </p:txBody>
      </p:sp>
      <p:pic>
        <p:nvPicPr>
          <p:cNvPr id="12" name="Elemento grafico 11" descr="Portatile con riempimento a tinta unita">
            <a:extLst>
              <a:ext uri="{FF2B5EF4-FFF2-40B4-BE49-F238E27FC236}">
                <a16:creationId xmlns:a16="http://schemas.microsoft.com/office/drawing/2014/main" id="{B8BE116F-1D40-3565-C6B2-8AAD5A48DAB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387831" y="2784927"/>
            <a:ext cx="287065" cy="287065"/>
          </a:xfrm>
          <a:prstGeom prst="rect">
            <a:avLst/>
          </a:prstGeom>
        </p:spPr>
      </p:pic>
      <p:pic>
        <p:nvPicPr>
          <p:cNvPr id="22" name="Immagine 21" descr="Immagine che contiene nero, oscurità&#10;&#10;Descrizione generata automaticamente">
            <a:extLst>
              <a:ext uri="{FF2B5EF4-FFF2-40B4-BE49-F238E27FC236}">
                <a16:creationId xmlns:a16="http://schemas.microsoft.com/office/drawing/2014/main" id="{7C849F2B-43CB-03A1-96AD-0E0ADF31F156}"/>
              </a:ext>
            </a:extLst>
          </p:cNvPr>
          <p:cNvPicPr>
            <a:picLocks noChangeAspect="1"/>
          </p:cNvPicPr>
          <p:nvPr/>
        </p:nvPicPr>
        <p:blipFill>
          <a:blip r:embed="rId18"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728079" y="5966981"/>
            <a:ext cx="401587" cy="401587"/>
          </a:xfrm>
          <a:prstGeom prst="rect">
            <a:avLst/>
          </a:prstGeom>
        </p:spPr>
      </p:pic>
    </p:spTree>
    <p:extLst>
      <p:ext uri="{BB962C8B-B14F-4D97-AF65-F5344CB8AC3E}">
        <p14:creationId xmlns:p14="http://schemas.microsoft.com/office/powerpoint/2010/main" val="6547577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egnaposto testo 1">
            <a:extLst>
              <a:ext uri="{FF2B5EF4-FFF2-40B4-BE49-F238E27FC236}">
                <a16:creationId xmlns:a16="http://schemas.microsoft.com/office/drawing/2014/main" id="{43569E4E-E9F7-E745-33E9-5FDF070E167F}"/>
              </a:ext>
            </a:extLst>
          </p:cNvPr>
          <p:cNvSpPr>
            <a:spLocks noGrp="1"/>
          </p:cNvSpPr>
          <p:nvPr>
            <p:ph type="body" idx="13"/>
          </p:nvPr>
        </p:nvSpPr>
        <p:spPr>
          <a:xfrm>
            <a:off x="334433" y="297158"/>
            <a:ext cx="8593667" cy="383116"/>
          </a:xfrm>
        </p:spPr>
        <p:txBody>
          <a:bodyPr/>
          <a:lstStyle/>
          <a:p>
            <a:r>
              <a:rPr lang="it-IT" sz="2800" dirty="0"/>
              <a:t>Investimenti partecipativi</a:t>
            </a:r>
          </a:p>
        </p:txBody>
      </p:sp>
      <p:sp>
        <p:nvSpPr>
          <p:cNvPr id="4" name="Segnaposto numero diapositiva 3"/>
          <p:cNvSpPr>
            <a:spLocks noGrp="1"/>
          </p:cNvSpPr>
          <p:nvPr>
            <p:ph type="sldNum" sz="quarter" idx="12"/>
          </p:nvPr>
        </p:nvSpPr>
        <p:spPr>
          <a:xfrm>
            <a:off x="279114" y="6425845"/>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it-IT" sz="1067" b="0" i="0" u="none" strike="noStrike" kern="1200" cap="none" spc="0" normalizeH="0" baseline="0" noProof="0" dirty="0">
              <a:ln>
                <a:noFill/>
              </a:ln>
              <a:solidFill>
                <a:srgbClr val="415064"/>
              </a:solidFill>
              <a:effectLst/>
              <a:uLnTx/>
              <a:uFillTx/>
            </a:endParaRPr>
          </a:p>
        </p:txBody>
      </p:sp>
      <p:sp>
        <p:nvSpPr>
          <p:cNvPr id="53" name="Più 52"/>
          <p:cNvSpPr/>
          <p:nvPr/>
        </p:nvSpPr>
        <p:spPr>
          <a:xfrm>
            <a:off x="2725277" y="2724314"/>
            <a:ext cx="308767" cy="307944"/>
          </a:xfrm>
          <a:prstGeom prst="mathPlus">
            <a:avLst>
              <a:gd name="adj1" fmla="val 1424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chemeClr val="accent2"/>
              </a:solidFill>
              <a:effectLst/>
              <a:uLnTx/>
              <a:uFillTx/>
              <a:latin typeface="Univers Condensed" panose="020B0506020202050204" pitchFamily="34" charset="0"/>
            </a:endParaRPr>
          </a:p>
        </p:txBody>
      </p:sp>
      <p:sp>
        <p:nvSpPr>
          <p:cNvPr id="57" name="Rettangolo arrotondato 56"/>
          <p:cNvSpPr/>
          <p:nvPr/>
        </p:nvSpPr>
        <p:spPr>
          <a:xfrm>
            <a:off x="1736911" y="4239828"/>
            <a:ext cx="2293100" cy="665107"/>
          </a:xfrm>
          <a:prstGeom prst="roundRect">
            <a:avLst>
              <a:gd name="adj" fmla="val 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chemeClr val="bg1"/>
                </a:solidFill>
                <a:effectLst/>
                <a:uLnTx/>
                <a:uFillTx/>
                <a:latin typeface="Univers Condensed" panose="020B0506020202050204" pitchFamily="34" charset="0"/>
              </a:rPr>
              <a:t>Contributo in conto interessi*</a:t>
            </a:r>
          </a:p>
        </p:txBody>
      </p:sp>
      <p:sp>
        <p:nvSpPr>
          <p:cNvPr id="34" name="Rettangolo 33"/>
          <p:cNvSpPr/>
          <p:nvPr/>
        </p:nvSpPr>
        <p:spPr>
          <a:xfrm>
            <a:off x="4122281" y="3253252"/>
            <a:ext cx="7354372" cy="492443"/>
          </a:xfrm>
          <a:prstGeom prst="rect">
            <a:avLst/>
          </a:prstGeom>
        </p:spPr>
        <p:txBody>
          <a:bodyPr wrap="square"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1300" b="1" i="0" u="none" strike="noStrike" kern="1200" cap="none" spc="0" normalizeH="0" baseline="0" noProof="0" dirty="0">
                <a:ln>
                  <a:noFill/>
                </a:ln>
                <a:solidFill>
                  <a:schemeClr val="accent1"/>
                </a:solidFill>
                <a:effectLst/>
                <a:uLnTx/>
                <a:uFillTx/>
                <a:latin typeface="Univers Condensed" panose="020B0506020202050204" pitchFamily="34" charset="0"/>
              </a:rPr>
              <a:t>Partecipazione aggiuntiva delle risorse pubbliche </a:t>
            </a:r>
            <a:r>
              <a:rPr kumimoji="0" lang="it-IT" sz="1300" b="1" i="0" u="none" strike="noStrike" kern="1200" cap="none" spc="0" normalizeH="0" baseline="0" noProof="0" dirty="0">
                <a:ln>
                  <a:noFill/>
                </a:ln>
                <a:solidFill>
                  <a:schemeClr val="accent2"/>
                </a:solidFill>
                <a:effectLst/>
                <a:uLnTx/>
                <a:uFillTx/>
                <a:latin typeface="Univers Condensed" panose="020B0506020202050204" pitchFamily="34" charset="0"/>
              </a:rPr>
              <a:t>di Venture Capital gestite da SIMEST </a:t>
            </a:r>
            <a:r>
              <a:rPr kumimoji="0" lang="it-IT" sz="1300" i="0" u="none" strike="noStrike" kern="1200" cap="none" spc="0" normalizeH="0" baseline="0" noProof="0" dirty="0">
                <a:ln>
                  <a:noFill/>
                </a:ln>
                <a:solidFill>
                  <a:schemeClr val="accent1"/>
                </a:solidFill>
                <a:effectLst/>
                <a:uLnTx/>
                <a:uFillTx/>
                <a:latin typeface="Univers Condensed" panose="020B0506020202050204" pitchFamily="34" charset="0"/>
              </a:rPr>
              <a:t>a condizioni economiche promozionali </a:t>
            </a:r>
            <a:r>
              <a:rPr kumimoji="0" lang="it-IT" sz="1300" b="0" i="0" u="none" strike="noStrike" kern="1200" cap="none" spc="0" normalizeH="0" baseline="0" noProof="0" dirty="0">
                <a:ln>
                  <a:noFill/>
                </a:ln>
                <a:solidFill>
                  <a:schemeClr val="accent1"/>
                </a:solidFill>
                <a:effectLst/>
                <a:uLnTx/>
                <a:uFillTx/>
                <a:latin typeface="Univers Condensed" panose="020B0506020202050204" pitchFamily="34" charset="0"/>
              </a:rPr>
              <a:t>e allineata alle caratteristiche della </a:t>
            </a:r>
            <a:r>
              <a:rPr kumimoji="0" lang="it-IT" sz="1300" b="0" i="0" u="none" strike="noStrike" kern="1200" cap="none" spc="0" normalizeH="0" baseline="0" noProof="0">
                <a:ln>
                  <a:noFill/>
                </a:ln>
                <a:solidFill>
                  <a:schemeClr val="accent1"/>
                </a:solidFill>
                <a:effectLst/>
                <a:uLnTx/>
                <a:uFillTx/>
                <a:latin typeface="Univers Condensed" panose="020B0506020202050204" pitchFamily="34" charset="0"/>
              </a:rPr>
              <a:t>Partecipazione SIMEST </a:t>
            </a:r>
            <a:endParaRPr kumimoji="0" lang="it-IT" sz="1300" b="1" i="0" u="none" strike="noStrike" kern="1200" cap="none" spc="0" normalizeH="0" baseline="0" noProof="0" dirty="0">
              <a:ln>
                <a:noFill/>
              </a:ln>
              <a:solidFill>
                <a:schemeClr val="accent1"/>
              </a:solidFill>
              <a:effectLst/>
              <a:uLnTx/>
              <a:uFillTx/>
              <a:latin typeface="Univers Condensed" panose="020B0506020202050204" pitchFamily="34" charset="0"/>
            </a:endParaRPr>
          </a:p>
        </p:txBody>
      </p:sp>
      <p:sp>
        <p:nvSpPr>
          <p:cNvPr id="35" name="Rettangolo 34"/>
          <p:cNvSpPr/>
          <p:nvPr/>
        </p:nvSpPr>
        <p:spPr>
          <a:xfrm>
            <a:off x="4100804" y="2046416"/>
            <a:ext cx="7106850" cy="492443"/>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1300" b="1" i="0" u="none" strike="noStrike" kern="1200" cap="none" spc="0" normalizeH="0" baseline="0" noProof="0" dirty="0">
                <a:ln>
                  <a:noFill/>
                </a:ln>
                <a:solidFill>
                  <a:srgbClr val="005392"/>
                </a:solidFill>
                <a:effectLst/>
                <a:uLnTx/>
                <a:uFillTx/>
                <a:latin typeface="Univers Condensed" panose="020B0506020202050204" pitchFamily="34" charset="0"/>
              </a:rPr>
              <a:t>Partecipazione di SIMEST nel capitale</a:t>
            </a:r>
            <a:r>
              <a:rPr kumimoji="0" lang="it-IT" sz="1300" b="0" i="0" u="none" strike="noStrike" kern="1200" cap="none" spc="0" normalizeH="0" baseline="0" noProof="0" dirty="0">
                <a:ln>
                  <a:noFill/>
                </a:ln>
                <a:solidFill>
                  <a:srgbClr val="005392"/>
                </a:solidFill>
                <a:effectLst/>
                <a:uLnTx/>
                <a:uFillTx/>
                <a:latin typeface="Univers Condensed" panose="020B0506020202050204" pitchFamily="34" charset="0"/>
              </a:rPr>
              <a:t> </a:t>
            </a:r>
            <a:r>
              <a:rPr kumimoji="0" lang="it-IT" sz="1300" b="0" i="0" u="none" strike="noStrike" kern="1200" cap="none" spc="0" normalizeH="0" baseline="0" noProof="0" dirty="0">
                <a:ln>
                  <a:noFill/>
                </a:ln>
                <a:solidFill>
                  <a:srgbClr val="415364"/>
                </a:solidFill>
                <a:effectLst/>
                <a:uLnTx/>
                <a:uFillTx/>
                <a:latin typeface="Univers Condensed" panose="020B0506020202050204" pitchFamily="34" charset="0"/>
              </a:rPr>
              <a:t>della società estera. Orizzonte temporale di </a:t>
            </a:r>
            <a:r>
              <a:rPr kumimoji="0" lang="it-IT" sz="1300" b="1" i="0" u="none" strike="noStrike" kern="1200" cap="none" spc="0" normalizeH="0" baseline="0" noProof="0" dirty="0">
                <a:ln>
                  <a:noFill/>
                </a:ln>
                <a:solidFill>
                  <a:srgbClr val="005392"/>
                </a:solidFill>
                <a:effectLst/>
                <a:uLnTx/>
                <a:uFillTx/>
                <a:latin typeface="Univers Condensed" panose="020B0506020202050204" pitchFamily="34" charset="0"/>
              </a:rPr>
              <a:t>max 6-8 anni</a:t>
            </a:r>
            <a:r>
              <a:rPr kumimoji="0" lang="it-IT" sz="1300" i="0" u="none" strike="noStrike" kern="1200" cap="none" spc="0" normalizeH="0" baseline="0" noProof="0" dirty="0">
                <a:ln>
                  <a:noFill/>
                </a:ln>
                <a:solidFill>
                  <a:schemeClr val="accent1"/>
                </a:solidFill>
                <a:effectLst/>
                <a:uLnTx/>
                <a:uFillTx/>
                <a:latin typeface="Univers Condensed" panose="020B0506020202050204" pitchFamily="34" charset="0"/>
              </a:rPr>
              <a:t>, con </a:t>
            </a:r>
            <a:r>
              <a:rPr kumimoji="0" lang="it-IT" sz="1300" b="0" i="0" u="none" strike="noStrike" kern="1200" cap="none" spc="0" normalizeH="0" baseline="0" noProof="0" dirty="0">
                <a:ln>
                  <a:noFill/>
                </a:ln>
                <a:solidFill>
                  <a:srgbClr val="415364"/>
                </a:solidFill>
                <a:effectLst/>
                <a:uLnTx/>
                <a:uFillTx/>
                <a:latin typeface="Univers Condensed" panose="020B0506020202050204" pitchFamily="34" charset="0"/>
              </a:rPr>
              <a:t>obbligo di riacquisto da parte del </a:t>
            </a:r>
            <a:r>
              <a:rPr lang="it-IT" sz="1300" dirty="0">
                <a:solidFill>
                  <a:srgbClr val="415364"/>
                </a:solidFill>
                <a:latin typeface="Univers Condensed" panose="020B0506020202050204" pitchFamily="34" charset="0"/>
              </a:rPr>
              <a:t>partner italiano (prezzo di uscita predeterminato)</a:t>
            </a:r>
          </a:p>
        </p:txBody>
      </p:sp>
      <p:sp>
        <p:nvSpPr>
          <p:cNvPr id="36" name="Rettangolo 35"/>
          <p:cNvSpPr/>
          <p:nvPr/>
        </p:nvSpPr>
        <p:spPr>
          <a:xfrm>
            <a:off x="4087336" y="4319958"/>
            <a:ext cx="7013882" cy="492443"/>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1300" b="1" i="0" u="none" strike="noStrike" kern="1200" cap="none" spc="0" normalizeH="0" baseline="0" noProof="0" dirty="0">
                <a:ln>
                  <a:noFill/>
                </a:ln>
                <a:solidFill>
                  <a:srgbClr val="005392"/>
                </a:solidFill>
                <a:effectLst/>
                <a:uLnTx/>
                <a:uFillTx/>
                <a:latin typeface="Univers Condensed" panose="020B0506020202050204" pitchFamily="34" charset="0"/>
              </a:rPr>
              <a:t>Agevolazione sul finanziamento </a:t>
            </a:r>
            <a:r>
              <a:rPr kumimoji="0" lang="it-IT" sz="1300" b="0" i="0" u="none" strike="noStrike" kern="1200" cap="none" spc="0" normalizeH="0" baseline="0" noProof="0" dirty="0">
                <a:ln>
                  <a:noFill/>
                </a:ln>
                <a:solidFill>
                  <a:srgbClr val="415364"/>
                </a:solidFill>
                <a:effectLst/>
                <a:uLnTx/>
                <a:uFillTx/>
                <a:latin typeface="Univers Condensed" panose="020B0506020202050204" pitchFamily="34" charset="0"/>
              </a:rPr>
              <a:t>ottenuto dall'impresa italiana per l'acquisizione della propria quota di partecipazione nella </a:t>
            </a:r>
            <a:r>
              <a:rPr kumimoji="0" lang="it-IT" sz="1300" b="1" i="0" u="none" strike="noStrike" kern="1200" cap="none" spc="0" normalizeH="0" baseline="0" noProof="0" dirty="0">
                <a:ln>
                  <a:noFill/>
                </a:ln>
                <a:solidFill>
                  <a:srgbClr val="005392"/>
                </a:solidFill>
                <a:effectLst/>
                <a:uLnTx/>
                <a:uFillTx/>
                <a:latin typeface="Univers Condensed" panose="020B0506020202050204" pitchFamily="34" charset="0"/>
              </a:rPr>
              <a:t>società estera </a:t>
            </a:r>
            <a:r>
              <a:rPr kumimoji="0" lang="it-IT" sz="1300" b="0" i="0" u="none" strike="noStrike" kern="1200" cap="none" spc="0" normalizeH="0" baseline="0" noProof="0" dirty="0">
                <a:ln>
                  <a:noFill/>
                </a:ln>
                <a:solidFill>
                  <a:srgbClr val="415364"/>
                </a:solidFill>
                <a:effectLst/>
                <a:uLnTx/>
                <a:uFillTx/>
                <a:latin typeface="Univers Condensed" panose="020B0506020202050204" pitchFamily="34" charset="0"/>
              </a:rPr>
              <a:t>(</a:t>
            </a:r>
            <a:r>
              <a:rPr kumimoji="0" lang="it-IT" sz="1300" b="1" i="0" u="none" strike="noStrike" kern="1200" cap="none" spc="0" normalizeH="0" baseline="0" noProof="0" dirty="0">
                <a:ln>
                  <a:noFill/>
                </a:ln>
                <a:solidFill>
                  <a:srgbClr val="005392"/>
                </a:solidFill>
                <a:effectLst/>
                <a:uLnTx/>
                <a:uFillTx/>
                <a:latin typeface="Univers Condensed" panose="020B0506020202050204" pitchFamily="34" charset="0"/>
              </a:rPr>
              <a:t>extra UE</a:t>
            </a:r>
            <a:r>
              <a:rPr kumimoji="0" lang="it-IT" sz="1300" b="0" i="0" u="none" strike="noStrike" kern="1200" cap="none" spc="0" normalizeH="0" baseline="0" noProof="0" dirty="0">
                <a:ln>
                  <a:noFill/>
                </a:ln>
                <a:solidFill>
                  <a:srgbClr val="415364"/>
                </a:solidFill>
                <a:effectLst/>
                <a:uLnTx/>
                <a:uFillTx/>
                <a:latin typeface="Univers Condensed" panose="020B0506020202050204" pitchFamily="34" charset="0"/>
              </a:rPr>
              <a:t>)</a:t>
            </a:r>
          </a:p>
        </p:txBody>
      </p:sp>
      <p:sp>
        <p:nvSpPr>
          <p:cNvPr id="33" name="Rettangolo arrotondato 32"/>
          <p:cNvSpPr/>
          <p:nvPr/>
        </p:nvSpPr>
        <p:spPr>
          <a:xfrm>
            <a:off x="1717899" y="1984527"/>
            <a:ext cx="2323525" cy="693128"/>
          </a:xfrm>
          <a:prstGeom prst="roundRect">
            <a:avLst>
              <a:gd name="adj" fmla="val 17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buClrTx/>
              <a:buSzTx/>
              <a:buFontTx/>
              <a:buNone/>
              <a:tabLst/>
              <a:defRPr/>
            </a:pPr>
            <a:r>
              <a:rPr kumimoji="0" lang="it-IT" sz="1200" b="1" i="0" u="none" strike="noStrike" kern="1200" cap="none" spc="0" normalizeH="0" baseline="0" noProof="0" dirty="0">
                <a:ln>
                  <a:noFill/>
                </a:ln>
                <a:solidFill>
                  <a:schemeClr val="bg1"/>
                </a:solidFill>
                <a:effectLst/>
                <a:uLnTx/>
                <a:uFillTx/>
                <a:latin typeface="Univers Condensed" panose="020B0506020202050204" pitchFamily="34" charset="0"/>
              </a:rPr>
              <a:t>1. Partecipazione SIMEST</a:t>
            </a:r>
          </a:p>
          <a:p>
            <a:pPr marL="0" marR="0" lvl="0" indent="0" algn="ctr" defTabSz="914400" rtl="0" eaLnBrk="1" fontAlgn="auto" latinLnBrk="0" hangingPunct="1">
              <a:lnSpc>
                <a:spcPct val="100000"/>
              </a:lnSpc>
              <a:spcBef>
                <a:spcPts val="0"/>
              </a:spcBef>
              <a:buClrTx/>
              <a:buSzTx/>
              <a:buFontTx/>
              <a:buNone/>
              <a:tabLst/>
              <a:defRPr/>
            </a:pPr>
            <a:r>
              <a:rPr kumimoji="0" lang="it-IT" sz="700" b="1" i="1" u="none" strike="noStrike" kern="1200" cap="none" spc="0" normalizeH="0" baseline="0" noProof="0" dirty="0">
                <a:ln>
                  <a:noFill/>
                </a:ln>
                <a:solidFill>
                  <a:schemeClr val="bg1"/>
                </a:solidFill>
                <a:effectLst/>
                <a:uLnTx/>
                <a:uFillTx/>
                <a:latin typeface="Univers Condensed" panose="020B0506020202050204" pitchFamily="34" charset="0"/>
              </a:rPr>
              <a:t>con possibile quota finanziamento soci </a:t>
            </a:r>
          </a:p>
        </p:txBody>
      </p:sp>
      <p:sp>
        <p:nvSpPr>
          <p:cNvPr id="37" name="Rettangolo arrotondato 36"/>
          <p:cNvSpPr/>
          <p:nvPr/>
        </p:nvSpPr>
        <p:spPr>
          <a:xfrm>
            <a:off x="1722621" y="3137176"/>
            <a:ext cx="2294723" cy="693128"/>
          </a:xfrm>
          <a:prstGeom prst="roundRect">
            <a:avLst>
              <a:gd name="adj" fmla="val 17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buClrTx/>
              <a:buSzTx/>
              <a:buFontTx/>
              <a:buNone/>
              <a:tabLst/>
              <a:defRPr/>
            </a:pPr>
            <a:r>
              <a:rPr kumimoji="0" lang="it-IT" sz="1200" b="1" i="0" u="none" strike="noStrike" kern="1200" cap="none" spc="0" normalizeH="0" baseline="0" noProof="0" dirty="0">
                <a:ln>
                  <a:noFill/>
                </a:ln>
                <a:solidFill>
                  <a:schemeClr val="bg1"/>
                </a:solidFill>
                <a:effectLst/>
                <a:uLnTx/>
                <a:uFillTx/>
                <a:latin typeface="Univers Condensed" panose="020B0506020202050204" pitchFamily="34" charset="0"/>
              </a:rPr>
              <a:t>2. Partecipazione risorse pubbliche Venture Capital*</a:t>
            </a:r>
          </a:p>
          <a:p>
            <a:pPr marL="0" marR="0" lvl="0" indent="0" algn="ctr" defTabSz="914400" rtl="0" eaLnBrk="1" fontAlgn="auto" latinLnBrk="0" hangingPunct="1">
              <a:lnSpc>
                <a:spcPct val="100000"/>
              </a:lnSpc>
              <a:spcBef>
                <a:spcPts val="0"/>
              </a:spcBef>
              <a:buClrTx/>
              <a:buSzTx/>
              <a:buFontTx/>
              <a:buNone/>
              <a:tabLst/>
              <a:defRPr/>
            </a:pPr>
            <a:r>
              <a:rPr kumimoji="0" lang="it-IT" sz="700" b="1" i="1" u="none" strike="noStrike" kern="1200" cap="none" spc="0" normalizeH="0" baseline="0" noProof="0" dirty="0">
                <a:ln>
                  <a:noFill/>
                </a:ln>
                <a:solidFill>
                  <a:schemeClr val="bg1"/>
                </a:solidFill>
                <a:effectLst/>
                <a:uLnTx/>
                <a:uFillTx/>
                <a:latin typeface="Univers Condensed" panose="020B0506020202050204" pitchFamily="34" charset="0"/>
              </a:rPr>
              <a:t>con possibile quota finanziamento soci </a:t>
            </a:r>
            <a:endParaRPr kumimoji="0" lang="it-IT" sz="700" b="1" i="0" u="none" strike="noStrike" kern="1200" cap="none" spc="0" normalizeH="0" baseline="0" noProof="0" dirty="0">
              <a:ln>
                <a:noFill/>
              </a:ln>
              <a:solidFill>
                <a:schemeClr val="bg1"/>
              </a:solidFill>
              <a:effectLst/>
              <a:uLnTx/>
              <a:uFillTx/>
              <a:latin typeface="Univers Condensed" panose="020B0506020202050204" pitchFamily="34" charset="0"/>
            </a:endParaRPr>
          </a:p>
        </p:txBody>
      </p:sp>
      <p:pic>
        <p:nvPicPr>
          <p:cNvPr id="13" name="Picture 2" descr="Istituzioni Italiane (MAECI)">
            <a:extLst>
              <a:ext uri="{FF2B5EF4-FFF2-40B4-BE49-F238E27FC236}">
                <a16:creationId xmlns:a16="http://schemas.microsoft.com/office/drawing/2014/main" id="{7CF0248D-FA94-5ECF-CAC8-1462148CFB80}"/>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5767" y="4313024"/>
            <a:ext cx="667460" cy="66746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Istituzioni Italiane (MAECI)">
            <a:extLst>
              <a:ext uri="{FF2B5EF4-FFF2-40B4-BE49-F238E27FC236}">
                <a16:creationId xmlns:a16="http://schemas.microsoft.com/office/drawing/2014/main" id="{AEECAE1E-06AF-B674-B350-E4BB752DA64B}"/>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5767" y="3208120"/>
            <a:ext cx="667460" cy="667460"/>
          </a:xfrm>
          <a:prstGeom prst="rect">
            <a:avLst/>
          </a:prstGeom>
          <a:noFill/>
          <a:extLst>
            <a:ext uri="{909E8E84-426E-40DD-AFC4-6F175D3DCCD1}">
              <a14:hiddenFill xmlns:a14="http://schemas.microsoft.com/office/drawing/2010/main">
                <a:solidFill>
                  <a:srgbClr val="FFFFFF"/>
                </a:solidFill>
              </a14:hiddenFill>
            </a:ext>
          </a:extLst>
        </p:spPr>
      </p:pic>
      <p:pic>
        <p:nvPicPr>
          <p:cNvPr id="16" name="Immagine 15">
            <a:extLst>
              <a:ext uri="{FF2B5EF4-FFF2-40B4-BE49-F238E27FC236}">
                <a16:creationId xmlns:a16="http://schemas.microsoft.com/office/drawing/2014/main" id="{167F259A-0279-E5E9-FA3B-6082164273A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27508" y="2141454"/>
            <a:ext cx="785453" cy="352099"/>
          </a:xfrm>
          <a:prstGeom prst="rect">
            <a:avLst/>
          </a:prstGeom>
        </p:spPr>
      </p:pic>
      <p:sp>
        <p:nvSpPr>
          <p:cNvPr id="44" name="Rettangolo arrotondato 85">
            <a:extLst>
              <a:ext uri="{FF2B5EF4-FFF2-40B4-BE49-F238E27FC236}">
                <a16:creationId xmlns:a16="http://schemas.microsoft.com/office/drawing/2014/main" id="{C7AB567D-15A9-E0B4-FF61-891B141F74BD}"/>
              </a:ext>
            </a:extLst>
          </p:cNvPr>
          <p:cNvSpPr/>
          <p:nvPr/>
        </p:nvSpPr>
        <p:spPr>
          <a:xfrm>
            <a:off x="8222438" y="5178811"/>
            <a:ext cx="1692001"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defRPr/>
            </a:pPr>
            <a:r>
              <a:rPr lang="it-IT" sz="1400" b="1" dirty="0">
                <a:solidFill>
                  <a:schemeClr val="accent2"/>
                </a:solidFill>
                <a:latin typeface="Univers Condensed" panose="020B0506020202050204" pitchFamily="34" charset="0"/>
              </a:rPr>
              <a:t>Tasso di remunerazione predeterminato</a:t>
            </a:r>
          </a:p>
        </p:txBody>
      </p:sp>
      <p:sp>
        <p:nvSpPr>
          <p:cNvPr id="46" name="Rettangolo arrotondato 85">
            <a:extLst>
              <a:ext uri="{FF2B5EF4-FFF2-40B4-BE49-F238E27FC236}">
                <a16:creationId xmlns:a16="http://schemas.microsoft.com/office/drawing/2014/main" id="{F172CF9C-E992-729E-3463-0D0008F4EB6D}"/>
              </a:ext>
            </a:extLst>
          </p:cNvPr>
          <p:cNvSpPr/>
          <p:nvPr/>
        </p:nvSpPr>
        <p:spPr>
          <a:xfrm>
            <a:off x="6106603" y="5178811"/>
            <a:ext cx="1715317"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Univers Condensed" panose="020B0506020202050204" pitchFamily="34" charset="0"/>
              </a:rPr>
              <a:t>Limitata ingerenza nella governance</a:t>
            </a:r>
          </a:p>
        </p:txBody>
      </p:sp>
      <p:sp>
        <p:nvSpPr>
          <p:cNvPr id="54" name="Rettangolo arrotondato 85">
            <a:extLst>
              <a:ext uri="{FF2B5EF4-FFF2-40B4-BE49-F238E27FC236}">
                <a16:creationId xmlns:a16="http://schemas.microsoft.com/office/drawing/2014/main" id="{F6F77F33-2937-1089-1F18-F10FBDE53025}"/>
              </a:ext>
            </a:extLst>
          </p:cNvPr>
          <p:cNvSpPr/>
          <p:nvPr/>
        </p:nvSpPr>
        <p:spPr>
          <a:xfrm>
            <a:off x="10278969" y="5238068"/>
            <a:ext cx="1857328"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Univers Condensed" panose="020B0506020202050204" pitchFamily="34" charset="0"/>
              </a:rPr>
              <a:t>Investimento flessibile </a:t>
            </a:r>
            <a:r>
              <a:rPr lang="it-IT" sz="1400" b="1" dirty="0" err="1">
                <a:solidFill>
                  <a:schemeClr val="accent2"/>
                </a:solidFill>
                <a:latin typeface="Univers Condensed" panose="020B0506020202050204" pitchFamily="34" charset="0"/>
              </a:rPr>
              <a:t>tailor</a:t>
            </a:r>
            <a:r>
              <a:rPr lang="it-IT" sz="1400" b="1" dirty="0">
                <a:solidFill>
                  <a:schemeClr val="accent2"/>
                </a:solidFill>
                <a:latin typeface="Univers Condensed" panose="020B0506020202050204" pitchFamily="34" charset="0"/>
              </a:rPr>
              <a:t> made</a:t>
            </a:r>
          </a:p>
          <a:p>
            <a:pPr algn="ctr">
              <a:defRPr/>
            </a:pPr>
            <a:r>
              <a:rPr lang="it-IT" sz="1050" i="1" dirty="0">
                <a:solidFill>
                  <a:schemeClr val="accent1"/>
                </a:solidFill>
                <a:latin typeface="Univers Condensed" panose="020B0506020202050204" pitchFamily="34" charset="0"/>
              </a:rPr>
              <a:t>Previsione di opzione call</a:t>
            </a:r>
          </a:p>
        </p:txBody>
      </p:sp>
      <p:sp>
        <p:nvSpPr>
          <p:cNvPr id="59" name="Rettangolo arrotondato 85">
            <a:extLst>
              <a:ext uri="{FF2B5EF4-FFF2-40B4-BE49-F238E27FC236}">
                <a16:creationId xmlns:a16="http://schemas.microsoft.com/office/drawing/2014/main" id="{176A3F69-DA14-603D-BFBB-108849965AED}"/>
              </a:ext>
            </a:extLst>
          </p:cNvPr>
          <p:cNvSpPr/>
          <p:nvPr/>
        </p:nvSpPr>
        <p:spPr>
          <a:xfrm>
            <a:off x="4051267" y="5238068"/>
            <a:ext cx="1459222"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Univers Condensed" panose="020B0506020202050204" pitchFamily="34" charset="0"/>
              </a:rPr>
              <a:t>No Centrale Rischi</a:t>
            </a:r>
          </a:p>
        </p:txBody>
      </p:sp>
      <p:pic>
        <p:nvPicPr>
          <p:cNvPr id="104" name="Elemento grafico 103" descr="Stretta di mano contorno">
            <a:extLst>
              <a:ext uri="{FF2B5EF4-FFF2-40B4-BE49-F238E27FC236}">
                <a16:creationId xmlns:a16="http://schemas.microsoft.com/office/drawing/2014/main" id="{FAD32D8F-BDE5-9013-6958-9B332579026D}"/>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560861" y="5306677"/>
            <a:ext cx="693576" cy="693576"/>
          </a:xfrm>
          <a:prstGeom prst="rect">
            <a:avLst/>
          </a:prstGeom>
        </p:spPr>
      </p:pic>
      <p:grpSp>
        <p:nvGrpSpPr>
          <p:cNvPr id="111" name="Gruppo 110">
            <a:extLst>
              <a:ext uri="{FF2B5EF4-FFF2-40B4-BE49-F238E27FC236}">
                <a16:creationId xmlns:a16="http://schemas.microsoft.com/office/drawing/2014/main" id="{735BA371-8FC8-FE08-9033-2E6BC68EE54D}"/>
              </a:ext>
            </a:extLst>
          </p:cNvPr>
          <p:cNvGrpSpPr/>
          <p:nvPr/>
        </p:nvGrpSpPr>
        <p:grpSpPr>
          <a:xfrm>
            <a:off x="3555163" y="5306677"/>
            <a:ext cx="584166" cy="590870"/>
            <a:chOff x="494500" y="5442843"/>
            <a:chExt cx="680940" cy="735843"/>
          </a:xfrm>
          <a:solidFill>
            <a:schemeClr val="accent2"/>
          </a:solidFill>
        </p:grpSpPr>
        <p:pic>
          <p:nvPicPr>
            <p:cNvPr id="106" name="Elemento grafico 105" descr="Avviso contorno">
              <a:extLst>
                <a:ext uri="{FF2B5EF4-FFF2-40B4-BE49-F238E27FC236}">
                  <a16:creationId xmlns:a16="http://schemas.microsoft.com/office/drawing/2014/main" id="{DA5BED46-2EBE-5A76-2C13-F0337B2682B7}"/>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38328" y="5792438"/>
              <a:ext cx="386249" cy="386248"/>
            </a:xfrm>
            <a:prstGeom prst="rect">
              <a:avLst/>
            </a:prstGeom>
          </p:spPr>
        </p:pic>
        <p:pic>
          <p:nvPicPr>
            <p:cNvPr id="110" name="Elemento grafico 109" descr="Contachilometri in basso contorno">
              <a:extLst>
                <a:ext uri="{FF2B5EF4-FFF2-40B4-BE49-F238E27FC236}">
                  <a16:creationId xmlns:a16="http://schemas.microsoft.com/office/drawing/2014/main" id="{B018B11A-0E34-2E69-BAE0-25B45482B49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94500" y="5442843"/>
              <a:ext cx="680940" cy="680940"/>
            </a:xfrm>
            <a:prstGeom prst="rect">
              <a:avLst/>
            </a:prstGeom>
          </p:spPr>
        </p:pic>
      </p:grpSp>
      <p:pic>
        <p:nvPicPr>
          <p:cNvPr id="113" name="Elemento grafico 112" descr="Impostazioni contorno">
            <a:extLst>
              <a:ext uri="{FF2B5EF4-FFF2-40B4-BE49-F238E27FC236}">
                <a16:creationId xmlns:a16="http://schemas.microsoft.com/office/drawing/2014/main" id="{99BE0847-43ED-B10E-9A3A-03968CBD1A04}"/>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787142" y="5277833"/>
            <a:ext cx="619125" cy="619125"/>
          </a:xfrm>
          <a:prstGeom prst="rect">
            <a:avLst/>
          </a:prstGeom>
        </p:spPr>
      </p:pic>
      <p:pic>
        <p:nvPicPr>
          <p:cNvPr id="114" name="Immagine 113" descr="Immagine che contiene nero, oscurità&#10;&#10;Descrizione generata automaticamente">
            <a:extLst>
              <a:ext uri="{FF2B5EF4-FFF2-40B4-BE49-F238E27FC236}">
                <a16:creationId xmlns:a16="http://schemas.microsoft.com/office/drawing/2014/main" id="{BA80CE64-77E3-890D-D69C-AFF3E982B69B}"/>
              </a:ext>
            </a:extLst>
          </p:cNvPr>
          <p:cNvPicPr>
            <a:picLocks noChangeAspect="1"/>
          </p:cNvPicPr>
          <p:nvPr/>
        </p:nvPicPr>
        <p:blipFill>
          <a:blip r:embed="rId12"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7848362" y="5361891"/>
            <a:ext cx="451172" cy="451172"/>
          </a:xfrm>
          <a:prstGeom prst="rect">
            <a:avLst/>
          </a:prstGeom>
        </p:spPr>
      </p:pic>
      <p:sp>
        <p:nvSpPr>
          <p:cNvPr id="116" name="Rettangolo arrotondato 85">
            <a:extLst>
              <a:ext uri="{FF2B5EF4-FFF2-40B4-BE49-F238E27FC236}">
                <a16:creationId xmlns:a16="http://schemas.microsoft.com/office/drawing/2014/main" id="{F51ADE0F-DAE0-8F9D-D84A-12B883301242}"/>
              </a:ext>
            </a:extLst>
          </p:cNvPr>
          <p:cNvSpPr/>
          <p:nvPr/>
        </p:nvSpPr>
        <p:spPr>
          <a:xfrm>
            <a:off x="1962566" y="5250710"/>
            <a:ext cx="160176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Univers Condensed" panose="020B0506020202050204" pitchFamily="34" charset="0"/>
              </a:rPr>
              <a:t>Partner istituzionale nel capitale</a:t>
            </a:r>
          </a:p>
        </p:txBody>
      </p:sp>
      <p:pic>
        <p:nvPicPr>
          <p:cNvPr id="119" name="Elemento grafico 118" descr="Banca contorno">
            <a:extLst>
              <a:ext uri="{FF2B5EF4-FFF2-40B4-BE49-F238E27FC236}">
                <a16:creationId xmlns:a16="http://schemas.microsoft.com/office/drawing/2014/main" id="{B812BC69-C2F1-B06B-D53C-05901FEDC28C}"/>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469221" y="5298801"/>
            <a:ext cx="678324" cy="678324"/>
          </a:xfrm>
          <a:prstGeom prst="rect">
            <a:avLst/>
          </a:prstGeom>
        </p:spPr>
      </p:pic>
      <p:sp>
        <p:nvSpPr>
          <p:cNvPr id="6" name="Più 52">
            <a:extLst>
              <a:ext uri="{FF2B5EF4-FFF2-40B4-BE49-F238E27FC236}">
                <a16:creationId xmlns:a16="http://schemas.microsoft.com/office/drawing/2014/main" id="{A7A143F8-7E8D-92DD-372B-385000C01DA4}"/>
              </a:ext>
            </a:extLst>
          </p:cNvPr>
          <p:cNvSpPr/>
          <p:nvPr/>
        </p:nvSpPr>
        <p:spPr>
          <a:xfrm>
            <a:off x="2725277" y="3935222"/>
            <a:ext cx="308767" cy="307944"/>
          </a:xfrm>
          <a:prstGeom prst="mathPlus">
            <a:avLst>
              <a:gd name="adj1" fmla="val 1424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chemeClr val="accent2"/>
              </a:solidFill>
              <a:effectLst/>
              <a:uLnTx/>
              <a:uFillTx/>
              <a:latin typeface="Univers Condensed" panose="020B0506020202050204" pitchFamily="34" charset="0"/>
            </a:endParaRPr>
          </a:p>
        </p:txBody>
      </p:sp>
      <p:sp>
        <p:nvSpPr>
          <p:cNvPr id="10" name="Rettangolo 9">
            <a:extLst>
              <a:ext uri="{FF2B5EF4-FFF2-40B4-BE49-F238E27FC236}">
                <a16:creationId xmlns:a16="http://schemas.microsoft.com/office/drawing/2014/main" id="{14435AB7-6B0C-B95C-600F-311F2732B1B2}"/>
              </a:ext>
            </a:extLst>
          </p:cNvPr>
          <p:cNvSpPr/>
          <p:nvPr/>
        </p:nvSpPr>
        <p:spPr>
          <a:xfrm>
            <a:off x="616373" y="1835549"/>
            <a:ext cx="10748119" cy="2063352"/>
          </a:xfrm>
          <a:prstGeom prst="rect">
            <a:avLst/>
          </a:prstGeom>
          <a:no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Univers Condensed" panose="020B0506020202050204" pitchFamily="34" charset="0"/>
            </a:endParaRPr>
          </a:p>
        </p:txBody>
      </p:sp>
      <p:sp>
        <p:nvSpPr>
          <p:cNvPr id="8" name="Rettangolo 7">
            <a:extLst>
              <a:ext uri="{FF2B5EF4-FFF2-40B4-BE49-F238E27FC236}">
                <a16:creationId xmlns:a16="http://schemas.microsoft.com/office/drawing/2014/main" id="{FA5FF51A-3BD0-45ED-1351-64DE7FCD6CC0}"/>
              </a:ext>
            </a:extLst>
          </p:cNvPr>
          <p:cNvSpPr/>
          <p:nvPr/>
        </p:nvSpPr>
        <p:spPr>
          <a:xfrm>
            <a:off x="10275026" y="2567382"/>
            <a:ext cx="1857328" cy="492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Univers Condensed" panose="020B0506020202050204" pitchFamily="34" charset="0"/>
              </a:rPr>
              <a:t>Max 49%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1" i="1" u="none" strike="noStrike" kern="1200" cap="none" spc="0" normalizeH="0" baseline="0" noProof="0" dirty="0">
                <a:ln>
                  <a:noFill/>
                </a:ln>
                <a:solidFill>
                  <a:srgbClr val="415364"/>
                </a:solidFill>
                <a:effectLst/>
                <a:uLnTx/>
                <a:uFillTx/>
                <a:latin typeface="Univers Condensed" panose="020B0506020202050204" pitchFamily="34" charset="0"/>
              </a:rPr>
              <a:t>del capitale sociale del veicolo oggetto di investimento</a:t>
            </a:r>
          </a:p>
        </p:txBody>
      </p:sp>
      <p:sp>
        <p:nvSpPr>
          <p:cNvPr id="12" name="Rettangolo 11">
            <a:extLst>
              <a:ext uri="{FF2B5EF4-FFF2-40B4-BE49-F238E27FC236}">
                <a16:creationId xmlns:a16="http://schemas.microsoft.com/office/drawing/2014/main" id="{6853511F-8186-B279-359A-79BC19B43868}"/>
              </a:ext>
            </a:extLst>
          </p:cNvPr>
          <p:cNvSpPr/>
          <p:nvPr/>
        </p:nvSpPr>
        <p:spPr>
          <a:xfrm>
            <a:off x="1" y="917634"/>
            <a:ext cx="12192000" cy="781666"/>
          </a:xfrm>
          <a:prstGeom prst="rect">
            <a:avLst/>
          </a:prstGeom>
        </p:spPr>
        <p:txBody>
          <a:bodyPr wrap="square" anchor="ctr">
            <a:noAutofit/>
          </a:bodyPr>
          <a:lstStyle/>
          <a:p>
            <a:pPr algn="ctr">
              <a:defRPr/>
            </a:pPr>
            <a:r>
              <a:rPr lang="it-IT" sz="2000" b="1" dirty="0">
                <a:solidFill>
                  <a:schemeClr val="accent1"/>
                </a:solidFill>
                <a:latin typeface="Univers Condensed" panose="020B0506020202050204" pitchFamily="34" charset="0"/>
              </a:rPr>
              <a:t>Acquisizioni di </a:t>
            </a:r>
            <a:r>
              <a:rPr kumimoji="0" lang="it-IT" sz="2000" b="1" i="0" u="none" strike="noStrike" kern="1200" cap="none" spc="0" normalizeH="0" baseline="0" noProof="0" dirty="0">
                <a:ln>
                  <a:noFill/>
                </a:ln>
                <a:solidFill>
                  <a:schemeClr val="accent1"/>
                </a:solidFill>
                <a:effectLst/>
                <a:uLnTx/>
                <a:uFillTx/>
                <a:latin typeface="Univers Condensed" panose="020B0506020202050204" pitchFamily="34" charset="0"/>
              </a:rPr>
              <a:t>partecipazioni* di minoranza in </a:t>
            </a:r>
            <a:r>
              <a:rPr kumimoji="0" lang="it-IT" sz="2000" b="1" i="0" u="none" strike="noStrike" kern="1200" cap="none" spc="0" normalizeH="0" baseline="0" noProof="0" dirty="0">
                <a:ln>
                  <a:noFill/>
                </a:ln>
                <a:solidFill>
                  <a:srgbClr val="415364"/>
                </a:solidFill>
                <a:effectLst/>
                <a:uLnTx/>
                <a:uFillTx/>
                <a:latin typeface="Univers Condensed" panose="020B0506020202050204" pitchFamily="34" charset="0"/>
              </a:rPr>
              <a:t>società estere </a:t>
            </a:r>
            <a:r>
              <a:rPr kumimoji="0" lang="it-IT" sz="2000" i="0" u="none" strike="noStrike" kern="1200" cap="none" spc="0" normalizeH="0" baseline="0" noProof="0" dirty="0">
                <a:ln>
                  <a:noFill/>
                </a:ln>
                <a:solidFill>
                  <a:srgbClr val="415364"/>
                </a:solidFill>
                <a:effectLst/>
                <a:uLnTx/>
                <a:uFillTx/>
                <a:latin typeface="Univers Condensed" panose="020B0506020202050204" pitchFamily="34" charset="0"/>
              </a:rPr>
              <a:t>detenute da </a:t>
            </a:r>
            <a:r>
              <a:rPr kumimoji="0" lang="it-IT" sz="2000" b="1" i="0" u="none" strike="noStrike" kern="1200" cap="none" spc="0" normalizeH="0" baseline="0" noProof="0" dirty="0">
                <a:ln>
                  <a:noFill/>
                </a:ln>
                <a:solidFill>
                  <a:schemeClr val="accent2"/>
                </a:solidFill>
                <a:effectLst/>
                <a:uLnTx/>
                <a:uFillTx/>
                <a:latin typeface="Univers Condensed" panose="020B0506020202050204" pitchFamily="34" charset="0"/>
              </a:rPr>
              <a:t>imprese italiane</a:t>
            </a:r>
            <a:r>
              <a:rPr kumimoji="0" lang="it-IT" sz="2000" i="0" u="none" strike="noStrike" kern="1200" cap="none" spc="0" normalizeH="0" baseline="0" noProof="0" dirty="0">
                <a:ln>
                  <a:noFill/>
                </a:ln>
                <a:solidFill>
                  <a:srgbClr val="415364"/>
                </a:solidFill>
                <a:effectLst/>
                <a:uLnTx/>
                <a:uFillTx/>
                <a:latin typeface="Univers Condensed" panose="020B0506020202050204" pitchFamily="34" charset="0"/>
              </a:rPr>
              <a:t>.</a:t>
            </a:r>
          </a:p>
          <a:p>
            <a:pPr algn="ctr">
              <a:defRPr/>
            </a:pPr>
            <a:r>
              <a:rPr lang="it-IT" sz="2000" dirty="0">
                <a:solidFill>
                  <a:srgbClr val="415364"/>
                </a:solidFill>
                <a:latin typeface="Univers Condensed" panose="020B0506020202050204" pitchFamily="34" charset="0"/>
              </a:rPr>
              <a:t>Supporto finanziario di </a:t>
            </a:r>
            <a:r>
              <a:rPr lang="it-IT" sz="2000" b="1" dirty="0">
                <a:solidFill>
                  <a:schemeClr val="accent2"/>
                </a:solidFill>
                <a:latin typeface="Univers Condensed" panose="020B0506020202050204" pitchFamily="34" charset="0"/>
              </a:rPr>
              <a:t>medio/lungo termine </a:t>
            </a:r>
            <a:r>
              <a:rPr lang="it-IT" sz="2000" dirty="0">
                <a:solidFill>
                  <a:srgbClr val="415364"/>
                </a:solidFill>
                <a:latin typeface="Univers Condensed" panose="020B0506020202050204" pitchFamily="34" charset="0"/>
              </a:rPr>
              <a:t>per l’insediamento di imprese italiane </a:t>
            </a:r>
            <a:r>
              <a:rPr lang="it-IT" sz="2000" b="1" dirty="0">
                <a:solidFill>
                  <a:schemeClr val="accent2"/>
                </a:solidFill>
                <a:latin typeface="Univers Condensed" panose="020B0506020202050204" pitchFamily="34" charset="0"/>
              </a:rPr>
              <a:t>in UE ed Extra U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0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endParaRPr>
          </a:p>
        </p:txBody>
      </p:sp>
      <p:sp>
        <p:nvSpPr>
          <p:cNvPr id="14" name="CasellaDiTesto 13">
            <a:extLst>
              <a:ext uri="{FF2B5EF4-FFF2-40B4-BE49-F238E27FC236}">
                <a16:creationId xmlns:a16="http://schemas.microsoft.com/office/drawing/2014/main" id="{CE598885-36D8-EA70-9495-060902071410}"/>
              </a:ext>
            </a:extLst>
          </p:cNvPr>
          <p:cNvSpPr txBox="1"/>
          <p:nvPr/>
        </p:nvSpPr>
        <p:spPr>
          <a:xfrm>
            <a:off x="382172" y="6461008"/>
            <a:ext cx="6657386" cy="230832"/>
          </a:xfrm>
          <a:prstGeom prst="rect">
            <a:avLst/>
          </a:prstGeom>
          <a:noFill/>
        </p:spPr>
        <p:txBody>
          <a:bodyPr wrap="square">
            <a:spAutoFit/>
          </a:bodyPr>
          <a:lstStyle/>
          <a:p>
            <a:r>
              <a:rPr lang="it-IT" sz="900" i="1" dirty="0">
                <a:latin typeface="Univers Condensed" panose="020B0506020202050204" pitchFamily="34" charset="0"/>
              </a:rPr>
              <a:t>* Con risorse proprie e risorse a valere su fondi pubblici gestiti da SIMEST per conto del MAECI</a:t>
            </a:r>
          </a:p>
        </p:txBody>
      </p:sp>
      <p:pic>
        <p:nvPicPr>
          <p:cNvPr id="19" name="Picture 2" descr="Istituzioni Italiane (MAECI)">
            <a:extLst>
              <a:ext uri="{FF2B5EF4-FFF2-40B4-BE49-F238E27FC236}">
                <a16:creationId xmlns:a16="http://schemas.microsoft.com/office/drawing/2014/main" id="{56712477-7042-9CBB-5110-09683309B171}"/>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4909596" y="6474672"/>
            <a:ext cx="331165" cy="331165"/>
          </a:xfrm>
          <a:prstGeom prst="rect">
            <a:avLst/>
          </a:prstGeom>
          <a:noFill/>
          <a:extLst>
            <a:ext uri="{909E8E84-426E-40DD-AFC4-6F175D3DCCD1}">
              <a14:hiddenFill xmlns:a14="http://schemas.microsoft.com/office/drawing/2010/main">
                <a:solidFill>
                  <a:srgbClr val="FFFFFF"/>
                </a:solidFill>
              </a14:hiddenFill>
            </a:ext>
          </a:extLst>
        </p:spPr>
      </p:pic>
      <p:sp>
        <p:nvSpPr>
          <p:cNvPr id="2" name="CasellaDiTesto 1">
            <a:extLst>
              <a:ext uri="{FF2B5EF4-FFF2-40B4-BE49-F238E27FC236}">
                <a16:creationId xmlns:a16="http://schemas.microsoft.com/office/drawing/2014/main" id="{96E03BD3-C84E-2C84-8697-35361951CDB5}"/>
              </a:ext>
            </a:extLst>
          </p:cNvPr>
          <p:cNvSpPr txBox="1"/>
          <p:nvPr/>
        </p:nvSpPr>
        <p:spPr>
          <a:xfrm>
            <a:off x="87056" y="5174074"/>
            <a:ext cx="1152983" cy="1017796"/>
          </a:xfrm>
          <a:prstGeom prst="rect">
            <a:avLst/>
          </a:prstGeom>
          <a:solidFill>
            <a:schemeClr val="bg1"/>
          </a:solidFill>
        </p:spPr>
        <p:txBody>
          <a:bodyPr wrap="square" anchor="ctr" anchorCtr="0">
            <a:noAutofit/>
          </a:bodyPr>
          <a:lstStyle>
            <a:defPPr>
              <a:defRPr lang="it-IT"/>
            </a:defPPr>
            <a:lvl1pPr marR="0" lvl="0" indent="0" algn="ctr" fontAlgn="auto">
              <a:lnSpc>
                <a:spcPct val="100000"/>
              </a:lnSpc>
              <a:spcBef>
                <a:spcPts val="0"/>
              </a:spcBef>
              <a:spcAft>
                <a:spcPts val="0"/>
              </a:spcAft>
              <a:buClrTx/>
              <a:buSzTx/>
              <a:buFontTx/>
              <a:buNone/>
              <a:tabLst/>
              <a:defRPr kumimoji="0" sz="1600" b="1" i="0" u="none" strike="noStrike" cap="none" spc="0" normalizeH="0" baseline="0">
                <a:ln>
                  <a:noFill/>
                </a:ln>
                <a:solidFill>
                  <a:srgbClr val="415364"/>
                </a:solidFill>
                <a:effectLst/>
                <a:uLnTx/>
                <a:uFillTx/>
                <a:latin typeface="Arial" panose="020B0604020202020204"/>
              </a:defRPr>
            </a:lvl1pPr>
          </a:lstStyle>
          <a:p>
            <a:r>
              <a:rPr lang="it-IT" dirty="0">
                <a:solidFill>
                  <a:schemeClr val="accent2"/>
                </a:solidFill>
                <a:latin typeface="Univers Condensed" panose="020B0506020202050204" pitchFamily="34" charset="0"/>
              </a:rPr>
              <a:t>BENEFICI</a:t>
            </a:r>
          </a:p>
        </p:txBody>
      </p:sp>
      <p:pic>
        <p:nvPicPr>
          <p:cNvPr id="3" name="Elemento grafico 2" descr="Accento circonflesso verso destra con riempimento a tinta unita">
            <a:extLst>
              <a:ext uri="{FF2B5EF4-FFF2-40B4-BE49-F238E27FC236}">
                <a16:creationId xmlns:a16="http://schemas.microsoft.com/office/drawing/2014/main" id="{F04CF0D0-EFFB-DF92-A7F1-A44409DB857B}"/>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038379" y="5331621"/>
            <a:ext cx="519453" cy="712189"/>
          </a:xfrm>
          <a:prstGeom prst="rect">
            <a:avLst/>
          </a:prstGeom>
        </p:spPr>
      </p:pic>
    </p:spTree>
    <p:extLst>
      <p:ext uri="{BB962C8B-B14F-4D97-AF65-F5344CB8AC3E}">
        <p14:creationId xmlns:p14="http://schemas.microsoft.com/office/powerpoint/2010/main" val="6171678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ttangolo 11">
            <a:extLst>
              <a:ext uri="{FF2B5EF4-FFF2-40B4-BE49-F238E27FC236}">
                <a16:creationId xmlns:a16="http://schemas.microsoft.com/office/drawing/2014/main" id="{E729C6F9-B82D-9CEE-F11C-300746788CEB}"/>
              </a:ext>
            </a:extLst>
          </p:cNvPr>
          <p:cNvSpPr/>
          <p:nvPr/>
        </p:nvSpPr>
        <p:spPr>
          <a:xfrm>
            <a:off x="6381544" y="1540042"/>
            <a:ext cx="5420591" cy="3618564"/>
          </a:xfrm>
          <a:prstGeom prst="rect">
            <a:avLst/>
          </a:prstGeom>
          <a:solidFill>
            <a:schemeClr val="accent1">
              <a:lumMod val="20000"/>
              <a:lumOff val="80000"/>
              <a:alpha val="2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Univers Condensed" panose="020B0506020202050204" pitchFamily="34" charset="0"/>
              <a:ea typeface="+mn-ea"/>
              <a:cs typeface="+mn-cs"/>
            </a:endParaRPr>
          </a:p>
        </p:txBody>
      </p:sp>
      <p:sp>
        <p:nvSpPr>
          <p:cNvPr id="5" name="Rettangolo 4">
            <a:extLst>
              <a:ext uri="{FF2B5EF4-FFF2-40B4-BE49-F238E27FC236}">
                <a16:creationId xmlns:a16="http://schemas.microsoft.com/office/drawing/2014/main" id="{6E9FB7A6-634F-5D2D-8707-1F995CEDA375}"/>
              </a:ext>
            </a:extLst>
          </p:cNvPr>
          <p:cNvSpPr/>
          <p:nvPr/>
        </p:nvSpPr>
        <p:spPr>
          <a:xfrm>
            <a:off x="418894" y="1533287"/>
            <a:ext cx="5420591" cy="3618564"/>
          </a:xfrm>
          <a:prstGeom prst="rect">
            <a:avLst/>
          </a:prstGeom>
          <a:solidFill>
            <a:schemeClr val="accent1">
              <a:lumMod val="20000"/>
              <a:lumOff val="80000"/>
              <a:alpha val="2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Univers Condensed" panose="020B0506020202050204" pitchFamily="34" charset="0"/>
              <a:ea typeface="+mn-ea"/>
              <a:cs typeface="+mn-cs"/>
            </a:endParaRPr>
          </a:p>
        </p:txBody>
      </p:sp>
      <p:pic>
        <p:nvPicPr>
          <p:cNvPr id="25" name="Immagine 24" descr="Immagine che contiene cielo, riflesso, acqua, silhouette&#10;&#10;Il contenuto generato dall'IA potrebbe non essere corretto.">
            <a:extLst>
              <a:ext uri="{FF2B5EF4-FFF2-40B4-BE49-F238E27FC236}">
                <a16:creationId xmlns:a16="http://schemas.microsoft.com/office/drawing/2014/main" id="{6367E03D-9447-96F1-A096-1B9CC0D04B59}"/>
              </a:ext>
            </a:extLst>
          </p:cNvPr>
          <p:cNvPicPr>
            <a:picLocks noChangeAspect="1"/>
          </p:cNvPicPr>
          <p:nvPr/>
        </p:nvPicPr>
        <p:blipFill>
          <a:blip r:embed="rId2" cstate="screen">
            <a:extLst>
              <a:ext uri="{28A0092B-C50C-407E-A947-70E740481C1C}">
                <a14:useLocalDpi xmlns:a14="http://schemas.microsoft.com/office/drawing/2010/main" val="0"/>
              </a:ext>
            </a:extLst>
          </a:blip>
          <a:srcRect r="-208"/>
          <a:stretch/>
        </p:blipFill>
        <p:spPr>
          <a:xfrm>
            <a:off x="1693355" y="2114376"/>
            <a:ext cx="2863007" cy="1108253"/>
          </a:xfrm>
          <a:prstGeom prst="rect">
            <a:avLst/>
          </a:prstGeom>
        </p:spPr>
      </p:pic>
      <p:pic>
        <p:nvPicPr>
          <p:cNvPr id="6" name="Immagine 5" descr="Immagine che contiene aria aperta, acqua, cielo, nuvola&#10;&#10;Il contenuto generato dall'IA potrebbe non essere corretto.">
            <a:extLst>
              <a:ext uri="{FF2B5EF4-FFF2-40B4-BE49-F238E27FC236}">
                <a16:creationId xmlns:a16="http://schemas.microsoft.com/office/drawing/2014/main" id="{A249D0AC-36B2-820C-4D0A-68A8B4FB8E2E}"/>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7609099" y="2120614"/>
            <a:ext cx="2849810" cy="1095776"/>
          </a:xfrm>
          <a:prstGeom prst="rect">
            <a:avLst/>
          </a:prstGeom>
        </p:spPr>
      </p:pic>
      <p:sp>
        <p:nvSpPr>
          <p:cNvPr id="2" name="Segnaposto testo 1">
            <a:extLst>
              <a:ext uri="{FF2B5EF4-FFF2-40B4-BE49-F238E27FC236}">
                <a16:creationId xmlns:a16="http://schemas.microsoft.com/office/drawing/2014/main" id="{2316BBB6-E288-4A88-A570-0AC69F78312E}"/>
              </a:ext>
            </a:extLst>
          </p:cNvPr>
          <p:cNvSpPr>
            <a:spLocks noGrp="1"/>
          </p:cNvSpPr>
          <p:nvPr>
            <p:ph type="body" idx="13"/>
          </p:nvPr>
        </p:nvSpPr>
        <p:spPr>
          <a:xfrm>
            <a:off x="334433" y="329143"/>
            <a:ext cx="10434181" cy="383116"/>
          </a:xfrm>
        </p:spPr>
        <p:txBody>
          <a:bodyPr/>
          <a:lstStyle/>
          <a:p>
            <a:r>
              <a:rPr lang="it-IT" sz="2800" dirty="0"/>
              <a:t>Nuovi Fondi pubblici di equity per la Crescita e le Infrastrutture</a:t>
            </a:r>
          </a:p>
        </p:txBody>
      </p:sp>
      <p:sp>
        <p:nvSpPr>
          <p:cNvPr id="4" name="CasellaDiTesto 3">
            <a:extLst>
              <a:ext uri="{FF2B5EF4-FFF2-40B4-BE49-F238E27FC236}">
                <a16:creationId xmlns:a16="http://schemas.microsoft.com/office/drawing/2014/main" id="{BDE53C1F-F34F-5BE0-6D75-F96DEFDF2C8B}"/>
              </a:ext>
            </a:extLst>
          </p:cNvPr>
          <p:cNvSpPr txBox="1"/>
          <p:nvPr/>
        </p:nvSpPr>
        <p:spPr>
          <a:xfrm>
            <a:off x="503471" y="1010479"/>
            <a:ext cx="11298664" cy="400110"/>
          </a:xfrm>
          <a:prstGeom prst="rect">
            <a:avLst/>
          </a:prstGeom>
          <a:solidFill>
            <a:schemeClr val="bg1"/>
          </a:solid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Interventi di minoranza </a:t>
            </a:r>
            <a:r>
              <a:rPr kumimoji="0" lang="it-IT" sz="20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nel capitale sociale delle imprese target a valere sulle </a:t>
            </a:r>
            <a:r>
              <a:rPr kumimoji="0" lang="it-IT" sz="2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nuove sezioni </a:t>
            </a:r>
            <a:r>
              <a:rPr kumimoji="0" lang="it-IT" sz="20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del </a:t>
            </a:r>
            <a:r>
              <a:rPr kumimoji="0" lang="it-IT" sz="2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Fondo 394</a:t>
            </a:r>
            <a:endParaRPr kumimoji="0" lang="it-IT" sz="20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37" name="CasellaDiTesto 36">
            <a:extLst>
              <a:ext uri="{FF2B5EF4-FFF2-40B4-BE49-F238E27FC236}">
                <a16:creationId xmlns:a16="http://schemas.microsoft.com/office/drawing/2014/main" id="{DEB126FD-6707-ED29-95B7-22F28481C354}"/>
              </a:ext>
            </a:extLst>
          </p:cNvPr>
          <p:cNvSpPr txBox="1"/>
          <p:nvPr/>
        </p:nvSpPr>
        <p:spPr>
          <a:xfrm>
            <a:off x="7155214" y="1542852"/>
            <a:ext cx="3821673" cy="526939"/>
          </a:xfrm>
          <a:prstGeom prst="rect">
            <a:avLst/>
          </a:prstGeom>
          <a:noFill/>
        </p:spPr>
        <p:txBody>
          <a:bodyPr wrap="square">
            <a:spAutoFit/>
          </a:bodyPr>
          <a:lstStyle/>
          <a:p>
            <a:pPr marL="0" marR="0" lvl="0" indent="0" algn="ctr" defTabSz="685783" rtl="0" eaLnBrk="1" fontAlgn="auto" latinLnBrk="0" hangingPunct="1">
              <a:lnSpc>
                <a:spcPct val="130000"/>
              </a:lnSpc>
              <a:spcBef>
                <a:spcPts val="0"/>
              </a:spcBef>
              <a:spcAft>
                <a:spcPts val="0"/>
              </a:spcAft>
              <a:buClrTx/>
              <a:buSzTx/>
              <a:buFontTx/>
              <a:buNone/>
              <a:tabLst>
                <a:tab pos="1687788" algn="l"/>
              </a:tabLst>
              <a:defRPr/>
            </a:pPr>
            <a:r>
              <a:rPr kumimoji="0" lang="it-IT" sz="2400" b="1" i="0" u="none" strike="noStrike" kern="1200" cap="none" spc="0" normalizeH="0" baseline="0" noProof="0" dirty="0">
                <a:ln>
                  <a:noFill/>
                </a:ln>
                <a:solidFill>
                  <a:srgbClr val="005392"/>
                </a:solidFill>
                <a:effectLst/>
                <a:uLnTx/>
                <a:uFillTx/>
                <a:latin typeface="Univers Condensed" panose="020B0506020202050204" pitchFamily="34" charset="0"/>
                <a:ea typeface="Times New Roman" panose="02020603050405020304" pitchFamily="18" charset="0"/>
                <a:cs typeface="Times New Roman" panose="02020603050405020304" pitchFamily="18" charset="0"/>
              </a:rPr>
              <a:t>PLAFOND INFRASTRUTTURE</a:t>
            </a:r>
            <a:endParaRPr kumimoji="0" lang="it-IT" sz="2400" b="0" i="0" u="none" strike="noStrike" kern="1200" cap="none" spc="0" normalizeH="0" baseline="0" noProof="0" dirty="0">
              <a:ln>
                <a:noFill/>
              </a:ln>
              <a:solidFill>
                <a:srgbClr val="005392"/>
              </a:solidFill>
              <a:effectLst/>
              <a:uLnTx/>
              <a:uFillTx/>
              <a:latin typeface="Univers Condensed" panose="020B0506020202050204" pitchFamily="34" charset="0"/>
              <a:ea typeface="Times New Roman" panose="02020603050405020304" pitchFamily="18" charset="0"/>
              <a:cs typeface="Times New Roman" panose="02020603050405020304" pitchFamily="18" charset="0"/>
            </a:endParaRPr>
          </a:p>
        </p:txBody>
      </p:sp>
      <p:sp>
        <p:nvSpPr>
          <p:cNvPr id="8" name="Rettangolo 7">
            <a:extLst>
              <a:ext uri="{FF2B5EF4-FFF2-40B4-BE49-F238E27FC236}">
                <a16:creationId xmlns:a16="http://schemas.microsoft.com/office/drawing/2014/main" id="{7C9837F6-7396-5DD9-DEE4-0815020F9362}"/>
              </a:ext>
            </a:extLst>
          </p:cNvPr>
          <p:cNvSpPr/>
          <p:nvPr/>
        </p:nvSpPr>
        <p:spPr>
          <a:xfrm>
            <a:off x="6390919" y="3244957"/>
            <a:ext cx="5286170" cy="774700"/>
          </a:xfrm>
          <a:prstGeom prst="rect">
            <a:avLst/>
          </a:prstGeom>
          <a:noFill/>
          <a:ln>
            <a:noFill/>
          </a:ln>
        </p:spPr>
        <p:style>
          <a:lnRef idx="0">
            <a:scrgbClr r="0" g="0" b="0"/>
          </a:lnRef>
          <a:fillRef idx="0">
            <a:scrgbClr r="0" g="0" b="0"/>
          </a:fillRef>
          <a:effectRef idx="0">
            <a:scrgbClr r="0" g="0" b="0"/>
          </a:effectRef>
          <a:fontRef idx="minor">
            <a:schemeClr val="accent2"/>
          </a:fontRef>
        </p:style>
        <p:txBody>
          <a:bodyPr anchor="ct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it-IT" sz="24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100 €mln </a:t>
            </a:r>
            <a:r>
              <a:rPr kumimoji="0" lang="it-IT" sz="18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per </a:t>
            </a:r>
            <a:r>
              <a:rPr kumimoji="0" lang="it-IT" sz="2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progetti infrastrutturali </a:t>
            </a:r>
            <a:r>
              <a:rPr kumimoji="0" lang="it-IT" sz="18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in geografie strategiche</a:t>
            </a:r>
          </a:p>
        </p:txBody>
      </p:sp>
      <p:sp>
        <p:nvSpPr>
          <p:cNvPr id="9" name="Rettangolo 8">
            <a:extLst>
              <a:ext uri="{FF2B5EF4-FFF2-40B4-BE49-F238E27FC236}">
                <a16:creationId xmlns:a16="http://schemas.microsoft.com/office/drawing/2014/main" id="{425E4852-8FFF-1A12-2757-19F7A8206E5C}"/>
              </a:ext>
            </a:extLst>
          </p:cNvPr>
          <p:cNvSpPr/>
          <p:nvPr/>
        </p:nvSpPr>
        <p:spPr>
          <a:xfrm>
            <a:off x="6779948" y="4005580"/>
            <a:ext cx="1474684" cy="1153025"/>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00" cap="none" spc="0" normalizeH="0" baseline="0" noProof="0" dirty="0">
                <a:ln>
                  <a:noFill/>
                </a:ln>
                <a:solidFill>
                  <a:srgbClr val="415364"/>
                </a:solidFill>
                <a:effectLst/>
                <a:uLnTx/>
                <a:uFillTx/>
                <a:latin typeface="Univers Condensed" panose="020B0506020202050204" pitchFamily="34" charset="0"/>
                <a:ea typeface="Aptos" panose="020B0004020202020204" pitchFamily="34" charset="0"/>
                <a:cs typeface="Times New Roman" panose="02020603050405020304" pitchFamily="18" charset="0"/>
              </a:rPr>
              <a:t>Affiancamento di </a:t>
            </a:r>
            <a:r>
              <a:rPr kumimoji="0" lang="it-IT" sz="1600" b="1" i="0" u="none" strike="noStrike" kern="100" cap="none" spc="0" normalizeH="0" baseline="0" noProof="0" dirty="0">
                <a:ln>
                  <a:noFill/>
                </a:ln>
                <a:solidFill>
                  <a:srgbClr val="005392"/>
                </a:solidFill>
                <a:effectLst/>
                <a:uLnTx/>
                <a:uFillTx/>
                <a:latin typeface="Univers Condensed" panose="020B0506020202050204" pitchFamily="34" charset="0"/>
                <a:ea typeface="+mn-ea"/>
                <a:cs typeface="Times New Roman" panose="02020603050405020304" pitchFamily="18" charset="0"/>
              </a:rPr>
              <a:t>lungo periodo</a:t>
            </a:r>
          </a:p>
        </p:txBody>
      </p:sp>
      <p:sp>
        <p:nvSpPr>
          <p:cNvPr id="10" name="Rettangolo 9">
            <a:extLst>
              <a:ext uri="{FF2B5EF4-FFF2-40B4-BE49-F238E27FC236}">
                <a16:creationId xmlns:a16="http://schemas.microsoft.com/office/drawing/2014/main" id="{1F6D449A-9D74-1616-C68C-7BAC0024F2F5}"/>
              </a:ext>
            </a:extLst>
          </p:cNvPr>
          <p:cNvSpPr/>
          <p:nvPr/>
        </p:nvSpPr>
        <p:spPr>
          <a:xfrm>
            <a:off x="8269415" y="4166496"/>
            <a:ext cx="1762223" cy="835676"/>
          </a:xfrm>
          <a:prstGeom prst="rect">
            <a:avLst/>
          </a:prstGeom>
          <a:noFill/>
          <a:ln w="25400" cap="flat" cmpd="sng" algn="ctr">
            <a:noFill/>
            <a:prstDash val="solid"/>
          </a:ln>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00" cap="none" spc="0" normalizeH="0" baseline="0" noProof="0" dirty="0">
                <a:ln>
                  <a:noFill/>
                </a:ln>
                <a:solidFill>
                  <a:srgbClr val="005392"/>
                </a:solidFill>
                <a:effectLst/>
                <a:uLnTx/>
                <a:uFillTx/>
                <a:latin typeface="Univers Condensed" panose="020B0506020202050204" pitchFamily="34" charset="0"/>
                <a:ea typeface="+mn-ea"/>
                <a:cs typeface="Times New Roman" panose="02020603050405020304" pitchFamily="18" charset="0"/>
              </a:rPr>
              <a:t>Abilitatore di investimenti </a:t>
            </a:r>
            <a:r>
              <a:rPr kumimoji="0" lang="it-IT" sz="1600" b="0" i="0" u="none" strike="noStrike" kern="100" cap="none" spc="0" normalizeH="0" baseline="0" noProof="0" dirty="0">
                <a:ln>
                  <a:noFill/>
                </a:ln>
                <a:solidFill>
                  <a:srgbClr val="415364"/>
                </a:solidFill>
                <a:effectLst/>
                <a:uLnTx/>
                <a:uFillTx/>
                <a:latin typeface="Univers Condensed" panose="020B0506020202050204" pitchFamily="34" charset="0"/>
                <a:ea typeface="Aptos" panose="020B0004020202020204" pitchFamily="34" charset="0"/>
                <a:cs typeface="Times New Roman" panose="02020603050405020304" pitchFamily="18" charset="0"/>
              </a:rPr>
              <a:t>pubblici e privati</a:t>
            </a:r>
            <a:endParaRPr kumimoji="0" lang="it-IT" sz="1600" b="0" i="0" u="none" strike="noStrike" kern="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11" name="Rettangolo 10">
            <a:extLst>
              <a:ext uri="{FF2B5EF4-FFF2-40B4-BE49-F238E27FC236}">
                <a16:creationId xmlns:a16="http://schemas.microsoft.com/office/drawing/2014/main" id="{A54FFAFA-01C4-C284-154F-DD20A0A8D41C}"/>
              </a:ext>
            </a:extLst>
          </p:cNvPr>
          <p:cNvSpPr/>
          <p:nvPr/>
        </p:nvSpPr>
        <p:spPr>
          <a:xfrm>
            <a:off x="9998564" y="4143603"/>
            <a:ext cx="1762224" cy="844533"/>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00" cap="none" spc="0" normalizeH="0" baseline="0" noProof="0" dirty="0">
                <a:ln>
                  <a:noFill/>
                </a:ln>
                <a:solidFill>
                  <a:srgbClr val="415364"/>
                </a:solidFill>
                <a:effectLst/>
                <a:uLnTx/>
                <a:uFillTx/>
                <a:latin typeface="Univers Condensed" panose="020B0506020202050204" pitchFamily="34" charset="0"/>
                <a:ea typeface="Aptos" panose="020B0004020202020204" pitchFamily="34" charset="0"/>
                <a:cs typeface="Times New Roman" panose="02020603050405020304" pitchFamily="18" charset="0"/>
              </a:rPr>
              <a:t>Coinvolgimento strutturato delle </a:t>
            </a:r>
            <a:r>
              <a:rPr kumimoji="0" lang="it-IT" sz="1600" b="1" i="0" u="none" strike="noStrike" kern="100" cap="none" spc="0" normalizeH="0" baseline="0" noProof="0" dirty="0">
                <a:ln>
                  <a:noFill/>
                </a:ln>
                <a:solidFill>
                  <a:srgbClr val="005392"/>
                </a:solidFill>
                <a:effectLst/>
                <a:uLnTx/>
                <a:uFillTx/>
                <a:latin typeface="Univers Condensed" panose="020B0506020202050204" pitchFamily="34" charset="0"/>
                <a:ea typeface="+mn-ea"/>
                <a:cs typeface="Times New Roman" panose="02020603050405020304" pitchFamily="18" charset="0"/>
              </a:rPr>
              <a:t>filiere italiane</a:t>
            </a:r>
          </a:p>
        </p:txBody>
      </p:sp>
      <p:sp>
        <p:nvSpPr>
          <p:cNvPr id="13" name="CasellaDiTesto 12">
            <a:extLst>
              <a:ext uri="{FF2B5EF4-FFF2-40B4-BE49-F238E27FC236}">
                <a16:creationId xmlns:a16="http://schemas.microsoft.com/office/drawing/2014/main" id="{05683513-F326-922D-ADE5-C5C15C8DA34E}"/>
              </a:ext>
            </a:extLst>
          </p:cNvPr>
          <p:cNvSpPr txBox="1"/>
          <p:nvPr/>
        </p:nvSpPr>
        <p:spPr>
          <a:xfrm>
            <a:off x="1366173" y="1540040"/>
            <a:ext cx="3821673" cy="526939"/>
          </a:xfrm>
          <a:prstGeom prst="rect">
            <a:avLst/>
          </a:prstGeom>
          <a:noFill/>
        </p:spPr>
        <p:txBody>
          <a:bodyPr wrap="square">
            <a:spAutoFit/>
          </a:bodyPr>
          <a:lstStyle/>
          <a:p>
            <a:pPr marL="0" marR="0" lvl="0" indent="0" algn="ctr" defTabSz="685783" rtl="0" eaLnBrk="1" fontAlgn="auto" latinLnBrk="0" hangingPunct="1">
              <a:lnSpc>
                <a:spcPct val="130000"/>
              </a:lnSpc>
              <a:spcBef>
                <a:spcPts val="0"/>
              </a:spcBef>
              <a:spcAft>
                <a:spcPts val="0"/>
              </a:spcAft>
              <a:buClrTx/>
              <a:buSzTx/>
              <a:buFontTx/>
              <a:buNone/>
              <a:tabLst>
                <a:tab pos="1687788" algn="l"/>
              </a:tabLst>
              <a:defRPr/>
            </a:pPr>
            <a:r>
              <a:rPr kumimoji="0" lang="it-IT" sz="2400" b="1" i="0" u="none" strike="noStrike" kern="1200" cap="none" spc="0" normalizeH="0" baseline="0" noProof="0" dirty="0">
                <a:ln>
                  <a:noFill/>
                </a:ln>
                <a:solidFill>
                  <a:srgbClr val="005392"/>
                </a:solidFill>
                <a:effectLst/>
                <a:uLnTx/>
                <a:uFillTx/>
                <a:latin typeface="Univers Condensed" panose="020B0506020202050204" pitchFamily="34" charset="0"/>
                <a:ea typeface="Times New Roman" panose="02020603050405020304" pitchFamily="18" charset="0"/>
                <a:cs typeface="Times New Roman" panose="02020603050405020304" pitchFamily="18" charset="0"/>
              </a:rPr>
              <a:t>PLAFOND CRESCITA</a:t>
            </a:r>
            <a:endParaRPr kumimoji="0" lang="it-IT" sz="2400" b="0" i="0" u="none" strike="noStrike" kern="1200" cap="none" spc="0" normalizeH="0" baseline="0" noProof="0" dirty="0">
              <a:ln>
                <a:noFill/>
              </a:ln>
              <a:solidFill>
                <a:srgbClr val="005392"/>
              </a:solidFill>
              <a:effectLst/>
              <a:uLnTx/>
              <a:uFillTx/>
              <a:latin typeface="Univers Condensed" panose="020B0506020202050204" pitchFamily="34" charset="0"/>
              <a:ea typeface="Times New Roman" panose="02020603050405020304" pitchFamily="18" charset="0"/>
              <a:cs typeface="Times New Roman" panose="02020603050405020304" pitchFamily="18" charset="0"/>
            </a:endParaRPr>
          </a:p>
        </p:txBody>
      </p:sp>
      <p:sp>
        <p:nvSpPr>
          <p:cNvPr id="16" name="Rettangolo 15">
            <a:extLst>
              <a:ext uri="{FF2B5EF4-FFF2-40B4-BE49-F238E27FC236}">
                <a16:creationId xmlns:a16="http://schemas.microsoft.com/office/drawing/2014/main" id="{3C442E11-A8CB-83AB-4A6A-7D743B2A440F}"/>
              </a:ext>
            </a:extLst>
          </p:cNvPr>
          <p:cNvSpPr/>
          <p:nvPr/>
        </p:nvSpPr>
        <p:spPr>
          <a:xfrm>
            <a:off x="311462" y="3989356"/>
            <a:ext cx="1769072" cy="1153025"/>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00" cap="none" spc="0" normalizeH="0" baseline="0" noProof="0" dirty="0">
                <a:ln>
                  <a:noFill/>
                </a:ln>
                <a:solidFill>
                  <a:srgbClr val="415364"/>
                </a:solidFill>
                <a:effectLst/>
                <a:uLnTx/>
                <a:uFillTx/>
                <a:latin typeface="Univers Condensed" panose="020B0506020202050204" pitchFamily="34" charset="0"/>
                <a:ea typeface="Aptos" panose="020B0004020202020204" pitchFamily="34" charset="0"/>
                <a:cs typeface="Times New Roman" panose="02020603050405020304" pitchFamily="18" charset="0"/>
              </a:rPr>
              <a:t>Dedicato a </a:t>
            </a:r>
            <a:r>
              <a:rPr kumimoji="0" lang="it-IT" sz="1600" b="1" i="0" u="none" strike="noStrike" kern="100" cap="none" spc="0" normalizeH="0" baseline="0" noProof="0" dirty="0">
                <a:ln>
                  <a:noFill/>
                </a:ln>
                <a:solidFill>
                  <a:srgbClr val="005392"/>
                </a:solidFill>
                <a:effectLst/>
                <a:uLnTx/>
                <a:uFillTx/>
                <a:latin typeface="Univers Condensed" panose="020B0506020202050204" pitchFamily="34" charset="0"/>
                <a:ea typeface="Aptos" panose="020B0004020202020204" pitchFamily="34" charset="0"/>
                <a:cs typeface="Times New Roman" panose="02020603050405020304" pitchFamily="18" charset="0"/>
              </a:rPr>
              <a:t>PMI</a:t>
            </a:r>
            <a:r>
              <a:rPr kumimoji="0" lang="it-IT" sz="1600" b="0" i="0" u="none" strike="noStrike" kern="100" cap="none" spc="0" normalizeH="0" baseline="0" noProof="0" dirty="0">
                <a:ln>
                  <a:noFill/>
                </a:ln>
                <a:solidFill>
                  <a:srgbClr val="415364"/>
                </a:solidFill>
                <a:effectLst/>
                <a:uLnTx/>
                <a:uFillTx/>
                <a:latin typeface="Univers Condensed" panose="020B0506020202050204" pitchFamily="34" charset="0"/>
                <a:ea typeface="Aptos" panose="020B0004020202020204" pitchFamily="34" charset="0"/>
                <a:cs typeface="Times New Roman" panose="02020603050405020304" pitchFamily="18" charset="0"/>
              </a:rPr>
              <a:t> e </a:t>
            </a:r>
            <a:r>
              <a:rPr kumimoji="0" lang="it-IT" sz="1600" b="1" i="0" u="none" strike="noStrike" kern="100" cap="none" spc="0" normalizeH="0" baseline="0" noProof="0" dirty="0">
                <a:ln>
                  <a:noFill/>
                </a:ln>
                <a:solidFill>
                  <a:srgbClr val="005392"/>
                </a:solidFill>
                <a:effectLst/>
                <a:uLnTx/>
                <a:uFillTx/>
                <a:latin typeface="Univers Condensed" panose="020B0506020202050204" pitchFamily="34" charset="0"/>
                <a:ea typeface="+mn-ea"/>
                <a:cs typeface="Times New Roman" panose="02020603050405020304" pitchFamily="18" charset="0"/>
              </a:rPr>
              <a:t>imprese a media capitalizzazione</a:t>
            </a:r>
          </a:p>
        </p:txBody>
      </p:sp>
      <p:sp>
        <p:nvSpPr>
          <p:cNvPr id="17" name="Rettangolo 16">
            <a:extLst>
              <a:ext uri="{FF2B5EF4-FFF2-40B4-BE49-F238E27FC236}">
                <a16:creationId xmlns:a16="http://schemas.microsoft.com/office/drawing/2014/main" id="{666335CE-A239-2125-BE66-4E363B891E03}"/>
              </a:ext>
            </a:extLst>
          </p:cNvPr>
          <p:cNvSpPr/>
          <p:nvPr/>
        </p:nvSpPr>
        <p:spPr>
          <a:xfrm>
            <a:off x="2154209" y="4156338"/>
            <a:ext cx="1921065" cy="835676"/>
          </a:xfrm>
          <a:prstGeom prst="rect">
            <a:avLst/>
          </a:prstGeom>
          <a:noFill/>
          <a:ln w="25400" cap="flat" cmpd="sng" algn="ctr">
            <a:noFill/>
            <a:prstDash val="solid"/>
          </a:ln>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00" cap="none" spc="0" normalizeH="0" baseline="0" noProof="0" dirty="0">
                <a:ln>
                  <a:noFill/>
                </a:ln>
                <a:solidFill>
                  <a:srgbClr val="005392"/>
                </a:solidFill>
                <a:effectLst/>
                <a:uLnTx/>
                <a:uFillTx/>
                <a:latin typeface="Univers Condensed" panose="020B0506020202050204" pitchFamily="34" charset="0"/>
                <a:ea typeface="+mn-ea"/>
                <a:cs typeface="Times New Roman" panose="02020603050405020304" pitchFamily="18" charset="0"/>
              </a:rPr>
              <a:t>Co-investimento</a:t>
            </a:r>
            <a:r>
              <a:rPr kumimoji="0" lang="it-IT" sz="1600" b="0" i="0" u="none" strike="noStrike" kern="100" cap="none" spc="0" normalizeH="0" baseline="0" noProof="0" dirty="0">
                <a:ln>
                  <a:noFill/>
                </a:ln>
                <a:solidFill>
                  <a:srgbClr val="415364"/>
                </a:solidFill>
                <a:effectLst/>
                <a:uLnTx/>
                <a:uFillTx/>
                <a:latin typeface="Univers Condensed" panose="020B0506020202050204" pitchFamily="34" charset="0"/>
                <a:ea typeface="Aptos" panose="020B0004020202020204" pitchFamily="34" charset="0"/>
                <a:cs typeface="Times New Roman" panose="02020603050405020304" pitchFamily="18" charset="0"/>
              </a:rPr>
              <a:t> con primari operatori finanziari</a:t>
            </a:r>
            <a:endParaRPr kumimoji="0" lang="it-IT" sz="1600" b="0" i="0" u="none" strike="noStrike" kern="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19" name="Rettangolo 18">
            <a:extLst>
              <a:ext uri="{FF2B5EF4-FFF2-40B4-BE49-F238E27FC236}">
                <a16:creationId xmlns:a16="http://schemas.microsoft.com/office/drawing/2014/main" id="{100F7203-0BD8-9939-E070-27C4F6E54E2F}"/>
              </a:ext>
            </a:extLst>
          </p:cNvPr>
          <p:cNvSpPr/>
          <p:nvPr/>
        </p:nvSpPr>
        <p:spPr>
          <a:xfrm>
            <a:off x="4090057" y="4164254"/>
            <a:ext cx="1811094" cy="844533"/>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00" cap="none" spc="0" normalizeH="0" baseline="0" noProof="0" dirty="0">
                <a:ln>
                  <a:noFill/>
                </a:ln>
                <a:solidFill>
                  <a:srgbClr val="005392"/>
                </a:solidFill>
                <a:effectLst/>
                <a:uLnTx/>
                <a:uFillTx/>
                <a:latin typeface="Univers Condensed" panose="020B0506020202050204" pitchFamily="34" charset="0"/>
                <a:ea typeface="+mn-ea"/>
                <a:cs typeface="Times New Roman" panose="02020603050405020304" pitchFamily="18" charset="0"/>
              </a:rPr>
              <a:t>Crescita internazionale </a:t>
            </a:r>
            <a:r>
              <a:rPr kumimoji="0" lang="it-IT" sz="1600" b="0" i="0" u="none" strike="noStrike" kern="100" cap="none" spc="0" normalizeH="0" baseline="0" noProof="0" dirty="0">
                <a:ln>
                  <a:noFill/>
                </a:ln>
                <a:solidFill>
                  <a:srgbClr val="415364"/>
                </a:solidFill>
                <a:effectLst/>
                <a:uLnTx/>
                <a:uFillTx/>
                <a:latin typeface="Univers Condensed" panose="020B0506020202050204" pitchFamily="34" charset="0"/>
                <a:ea typeface="Aptos" panose="020B0004020202020204" pitchFamily="34" charset="0"/>
                <a:cs typeface="Times New Roman" panose="02020603050405020304" pitchFamily="18" charset="0"/>
              </a:rPr>
              <a:t>del Made in Italy</a:t>
            </a:r>
            <a:endParaRPr kumimoji="0" lang="it-IT" sz="1600" b="0" i="0" u="none" strike="noStrike" kern="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24" name="Rettangolo 23">
            <a:extLst>
              <a:ext uri="{FF2B5EF4-FFF2-40B4-BE49-F238E27FC236}">
                <a16:creationId xmlns:a16="http://schemas.microsoft.com/office/drawing/2014/main" id="{EDBE3AF5-3A54-D155-25E3-026A2D8079AC}"/>
              </a:ext>
            </a:extLst>
          </p:cNvPr>
          <p:cNvSpPr/>
          <p:nvPr/>
        </p:nvSpPr>
        <p:spPr>
          <a:xfrm>
            <a:off x="498868" y="3302668"/>
            <a:ext cx="5429075" cy="774700"/>
          </a:xfrm>
          <a:prstGeom prst="rect">
            <a:avLst/>
          </a:prstGeom>
          <a:noFill/>
          <a:ln>
            <a:noFill/>
          </a:ln>
        </p:spPr>
        <p:style>
          <a:lnRef idx="0">
            <a:scrgbClr r="0" g="0" b="0"/>
          </a:lnRef>
          <a:fillRef idx="0">
            <a:scrgbClr r="0" g="0" b="0"/>
          </a:fillRef>
          <a:effectRef idx="0">
            <a:scrgbClr r="0" g="0" b="0"/>
          </a:effectRef>
          <a:fontRef idx="minor">
            <a:schemeClr val="accent2"/>
          </a:fontRef>
        </p:style>
        <p:txBody>
          <a:bodyPr anchor="ct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it-IT" sz="24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100 €mln </a:t>
            </a:r>
            <a:r>
              <a:rPr kumimoji="0" lang="it-IT" sz="18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per il </a:t>
            </a:r>
            <a:r>
              <a:rPr kumimoji="0" lang="it-IT" sz="2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rafforzamento del capitale </a:t>
            </a:r>
            <a:r>
              <a:rPr kumimoji="0" lang="it-IT" sz="18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delle imprese italiane</a:t>
            </a:r>
          </a:p>
        </p:txBody>
      </p:sp>
      <p:pic>
        <p:nvPicPr>
          <p:cNvPr id="3" name="Immagine 2" descr="Immagine che contiene testo, schermata, logo, simbolo&#10;&#10;Descrizione generata automaticamente">
            <a:extLst>
              <a:ext uri="{FF2B5EF4-FFF2-40B4-BE49-F238E27FC236}">
                <a16:creationId xmlns:a16="http://schemas.microsoft.com/office/drawing/2014/main" id="{8232DD5D-7DAC-A9B9-1F77-2F28F3EE09AA}"/>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1044104" y="105942"/>
            <a:ext cx="959177" cy="679417"/>
          </a:xfrm>
          <a:prstGeom prst="rect">
            <a:avLst/>
          </a:prstGeom>
        </p:spPr>
      </p:pic>
      <p:sp>
        <p:nvSpPr>
          <p:cNvPr id="14" name="CasellaDiTesto 13">
            <a:extLst>
              <a:ext uri="{FF2B5EF4-FFF2-40B4-BE49-F238E27FC236}">
                <a16:creationId xmlns:a16="http://schemas.microsoft.com/office/drawing/2014/main" id="{B769C575-2E5E-7A04-A0CF-B65B45E4896C}"/>
              </a:ext>
            </a:extLst>
          </p:cNvPr>
          <p:cNvSpPr txBox="1"/>
          <p:nvPr/>
        </p:nvSpPr>
        <p:spPr>
          <a:xfrm>
            <a:off x="418894" y="5428441"/>
            <a:ext cx="11383241"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Attivo dal 2023, Plafond di </a:t>
            </a:r>
            <a:r>
              <a:rPr kumimoji="0" lang="it-IT" sz="24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200 €mln</a:t>
            </a:r>
            <a:r>
              <a:rPr kumimoji="0" lang="it-IT" sz="2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 </a:t>
            </a:r>
            <a:r>
              <a:rPr kumimoji="0" lang="it-IT" sz="20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per supportare i processi di internazionalizzazio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delle </a:t>
            </a:r>
            <a:r>
              <a:rPr kumimoji="0" lang="it-IT" sz="2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Start up</a:t>
            </a:r>
            <a:r>
              <a:rPr kumimoji="0" lang="it-IT" sz="2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 </a:t>
            </a:r>
            <a:r>
              <a:rPr kumimoji="0" lang="it-IT" sz="20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e </a:t>
            </a:r>
            <a:r>
              <a:rPr kumimoji="0" lang="it-IT" sz="2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PMI</a:t>
            </a:r>
            <a:r>
              <a:rPr kumimoji="0" lang="it-IT" sz="2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 </a:t>
            </a:r>
            <a:r>
              <a:rPr kumimoji="0" lang="it-IT" sz="2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Innovative</a:t>
            </a:r>
            <a:r>
              <a:rPr kumimoji="0" lang="it-IT" sz="2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 </a:t>
            </a:r>
            <a:r>
              <a:rPr kumimoji="0" lang="it-IT" sz="20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attraverso</a:t>
            </a:r>
            <a:r>
              <a:rPr kumimoji="0" lang="it-IT" sz="2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 investimenti diretti </a:t>
            </a:r>
            <a:r>
              <a:rPr kumimoji="0" lang="it-IT" sz="20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e </a:t>
            </a:r>
            <a:r>
              <a:rPr kumimoji="0" lang="it-IT" sz="2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indiretti (FOFINT)</a:t>
            </a:r>
            <a:endParaRPr kumimoji="0" lang="it-IT" sz="20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15" name="Segnaposto numero diapositiva 3">
            <a:extLst>
              <a:ext uri="{FF2B5EF4-FFF2-40B4-BE49-F238E27FC236}">
                <a16:creationId xmlns:a16="http://schemas.microsoft.com/office/drawing/2014/main" id="{31E8AEFF-C02F-7C79-E754-2E63189DF6E3}"/>
              </a:ext>
            </a:extLst>
          </p:cNvPr>
          <p:cNvSpPr>
            <a:spLocks noGrp="1"/>
          </p:cNvSpPr>
          <p:nvPr>
            <p:ph type="sldNum" sz="quarter" idx="12"/>
          </p:nvPr>
        </p:nvSpPr>
        <p:spPr>
          <a:xfrm>
            <a:off x="279114" y="6425845"/>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cs typeface="Arial" panose="020B0604020202020204" pitchFamily="34" charset="0"/>
            </a:endParaRPr>
          </a:p>
        </p:txBody>
      </p:sp>
      <p:sp>
        <p:nvSpPr>
          <p:cNvPr id="20" name="CasellaDiTesto 19">
            <a:extLst>
              <a:ext uri="{FF2B5EF4-FFF2-40B4-BE49-F238E27FC236}">
                <a16:creationId xmlns:a16="http://schemas.microsoft.com/office/drawing/2014/main" id="{42659412-D471-7CE7-582C-2BB0F0700122}"/>
              </a:ext>
            </a:extLst>
          </p:cNvPr>
          <p:cNvSpPr txBox="1"/>
          <p:nvPr/>
        </p:nvSpPr>
        <p:spPr>
          <a:xfrm>
            <a:off x="606132" y="6387540"/>
            <a:ext cx="4581714"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it-IT" sz="900" i="1" dirty="0" err="1">
                <a:solidFill>
                  <a:srgbClr val="415364"/>
                </a:solidFill>
                <a:latin typeface="Univers Condensed" panose="020B0506020202050204" pitchFamily="34" charset="0"/>
              </a:rPr>
              <a:t>Ri</a:t>
            </a:r>
            <a:r>
              <a:rPr kumimoji="0" lang="it-IT" sz="900" b="0" i="1"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sorse pubbliche gestite da SIMEST per conto del MAECI</a:t>
            </a:r>
          </a:p>
        </p:txBody>
      </p:sp>
    </p:spTree>
    <p:extLst>
      <p:ext uri="{BB962C8B-B14F-4D97-AF65-F5344CB8AC3E}">
        <p14:creationId xmlns:p14="http://schemas.microsoft.com/office/powerpoint/2010/main" val="37871271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E2F3E028-7578-6108-1026-3CA68CA89E97}"/>
              </a:ext>
            </a:extLst>
          </p:cNvPr>
          <p:cNvSpPr>
            <a:spLocks noGrp="1"/>
          </p:cNvSpPr>
          <p:nvPr>
            <p:ph type="sldNum" sz="quarter" idx="12"/>
          </p:nvPr>
        </p:nvSpPr>
        <p:spPr>
          <a:xfrm>
            <a:off x="334433" y="6436758"/>
            <a:ext cx="1344083" cy="244916"/>
          </a:xfrm>
        </p:spPr>
        <p:txBody>
          <a:bodyPr/>
          <a:lstStyle/>
          <a:p>
            <a:fld id="{608DA0FE-9C19-F746-8419-6700E348BF78}" type="slidenum">
              <a:rPr lang="it-IT" smtClean="0"/>
              <a:pPr/>
              <a:t>13</a:t>
            </a:fld>
            <a:endParaRPr lang="it-IT" dirty="0"/>
          </a:p>
        </p:txBody>
      </p:sp>
      <p:sp>
        <p:nvSpPr>
          <p:cNvPr id="6" name="Rettangolo 5">
            <a:extLst>
              <a:ext uri="{FF2B5EF4-FFF2-40B4-BE49-F238E27FC236}">
                <a16:creationId xmlns:a16="http://schemas.microsoft.com/office/drawing/2014/main" id="{1F6723BA-4C26-21CA-2469-332AAB0A07EA}"/>
              </a:ext>
            </a:extLst>
          </p:cNvPr>
          <p:cNvSpPr/>
          <p:nvPr/>
        </p:nvSpPr>
        <p:spPr>
          <a:xfrm>
            <a:off x="651213" y="417669"/>
            <a:ext cx="4838218" cy="5868416"/>
          </a:xfrm>
          <a:prstGeom prst="rect">
            <a:avLst/>
          </a:prstGeom>
          <a:solidFill>
            <a:schemeClr val="tx2">
              <a:lumMod val="20000"/>
              <a:lumOff val="80000"/>
              <a:alpha val="8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latin typeface="Univers Condensed" panose="020B0506020202050204" pitchFamily="34" charset="0"/>
            </a:endParaRPr>
          </a:p>
        </p:txBody>
      </p:sp>
      <p:sp>
        <p:nvSpPr>
          <p:cNvPr id="7" name="Rettangolo 6">
            <a:extLst>
              <a:ext uri="{FF2B5EF4-FFF2-40B4-BE49-F238E27FC236}">
                <a16:creationId xmlns:a16="http://schemas.microsoft.com/office/drawing/2014/main" id="{7E00AE8B-6F42-627A-0778-50466CE2B261}"/>
              </a:ext>
            </a:extLst>
          </p:cNvPr>
          <p:cNvSpPr/>
          <p:nvPr/>
        </p:nvSpPr>
        <p:spPr>
          <a:xfrm>
            <a:off x="6676207" y="419401"/>
            <a:ext cx="4838218" cy="5868416"/>
          </a:xfrm>
          <a:prstGeom prst="rect">
            <a:avLst/>
          </a:prstGeom>
          <a:solidFill>
            <a:schemeClr val="tx2">
              <a:lumMod val="20000"/>
              <a:lumOff val="80000"/>
              <a:alpha val="8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latin typeface="Univers Condensed" panose="020B0506020202050204" pitchFamily="34" charset="0"/>
            </a:endParaRPr>
          </a:p>
        </p:txBody>
      </p:sp>
      <p:sp>
        <p:nvSpPr>
          <p:cNvPr id="41" name="Segnaposto testo 1">
            <a:extLst>
              <a:ext uri="{FF2B5EF4-FFF2-40B4-BE49-F238E27FC236}">
                <a16:creationId xmlns:a16="http://schemas.microsoft.com/office/drawing/2014/main" id="{0C25CF9C-1D57-631A-0007-B31C72CC85C2}"/>
              </a:ext>
            </a:extLst>
          </p:cNvPr>
          <p:cNvSpPr txBox="1">
            <a:spLocks/>
          </p:cNvSpPr>
          <p:nvPr/>
        </p:nvSpPr>
        <p:spPr>
          <a:xfrm>
            <a:off x="1116449" y="674151"/>
            <a:ext cx="3970633" cy="383116"/>
          </a:xfrm>
          <a:prstGeom prst="rect">
            <a:avLst/>
          </a:prstGeom>
        </p:spPr>
        <p:txBody>
          <a:bodyPr vert="horz" lIns="0" tIns="0" rIns="0" bIns="0" rtlCol="0" anchor="t" anchorCtr="0">
            <a:noAutofit/>
          </a:bodyPr>
          <a:lstStyle>
            <a:lvl1pPr marL="0" indent="0" algn="l" defTabSz="914377" rtl="0" eaLnBrk="1" latinLnBrk="0" hangingPunct="1">
              <a:lnSpc>
                <a:spcPct val="90000"/>
              </a:lnSpc>
              <a:spcBef>
                <a:spcPts val="1000"/>
              </a:spcBef>
              <a:buFont typeface="Arial" panose="020B0604020202020204" pitchFamily="34" charset="0"/>
              <a:buNone/>
              <a:defRPr sz="24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l" defTabSz="914377"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algn="ctr"/>
            <a:r>
              <a:rPr lang="it-IT" sz="2800" dirty="0">
                <a:solidFill>
                  <a:schemeClr val="tx1"/>
                </a:solidFill>
                <a:latin typeface="Univers Condensed" panose="020B0506020202050204" pitchFamily="34" charset="0"/>
              </a:rPr>
              <a:t>Uffici in tutta Italia e all’estero</a:t>
            </a:r>
          </a:p>
        </p:txBody>
      </p:sp>
      <p:sp>
        <p:nvSpPr>
          <p:cNvPr id="45" name="Rettangolo 44">
            <a:extLst>
              <a:ext uri="{FF2B5EF4-FFF2-40B4-BE49-F238E27FC236}">
                <a16:creationId xmlns:a16="http://schemas.microsoft.com/office/drawing/2014/main" id="{71CF04FC-2B2A-921B-803E-B5795EC1AD44}"/>
              </a:ext>
            </a:extLst>
          </p:cNvPr>
          <p:cNvSpPr/>
          <p:nvPr/>
        </p:nvSpPr>
        <p:spPr>
          <a:xfrm>
            <a:off x="1413116" y="5538256"/>
            <a:ext cx="3606984" cy="584775"/>
          </a:xfrm>
          <a:prstGeom prst="rect">
            <a:avLst/>
          </a:prstGeom>
        </p:spPr>
        <p:txBody>
          <a:bodyPr wrap="square">
            <a:spAutoFit/>
          </a:bodyPr>
          <a:lstStyle/>
          <a:p>
            <a:pPr algn="ctr"/>
            <a:r>
              <a:rPr lang="it-IT" sz="1600" b="1" dirty="0">
                <a:latin typeface="Univers Condensed" panose="020B0506020202050204" pitchFamily="34" charset="0"/>
              </a:rPr>
              <a:t>Via Vincenzo Bellini, 15</a:t>
            </a:r>
          </a:p>
          <a:p>
            <a:pPr algn="ctr"/>
            <a:r>
              <a:rPr lang="it-IT" sz="1600" b="1" dirty="0">
                <a:latin typeface="Univers Condensed" panose="020B0506020202050204" pitchFamily="34" charset="0"/>
              </a:rPr>
              <a:t>00198, Roma, Italia </a:t>
            </a:r>
          </a:p>
        </p:txBody>
      </p:sp>
      <p:grpSp>
        <p:nvGrpSpPr>
          <p:cNvPr id="53" name="Gruppo 52">
            <a:extLst>
              <a:ext uri="{FF2B5EF4-FFF2-40B4-BE49-F238E27FC236}">
                <a16:creationId xmlns:a16="http://schemas.microsoft.com/office/drawing/2014/main" id="{E16C2BB1-1BAF-32F2-544B-EDB382A4A41B}"/>
              </a:ext>
            </a:extLst>
          </p:cNvPr>
          <p:cNvGrpSpPr/>
          <p:nvPr/>
        </p:nvGrpSpPr>
        <p:grpSpPr>
          <a:xfrm>
            <a:off x="563712" y="1804711"/>
            <a:ext cx="3417637" cy="3574498"/>
            <a:chOff x="1072000" y="1030797"/>
            <a:chExt cx="3417637" cy="3574498"/>
          </a:xfrm>
        </p:grpSpPr>
        <p:grpSp>
          <p:nvGrpSpPr>
            <p:cNvPr id="8" name="Gruppo 7">
              <a:extLst>
                <a:ext uri="{FF2B5EF4-FFF2-40B4-BE49-F238E27FC236}">
                  <a16:creationId xmlns:a16="http://schemas.microsoft.com/office/drawing/2014/main" id="{9510894A-9840-FCD1-D46B-7CA3F978C0EB}"/>
                </a:ext>
              </a:extLst>
            </p:cNvPr>
            <p:cNvGrpSpPr>
              <a:grpSpLocks noChangeAspect="1"/>
            </p:cNvGrpSpPr>
            <p:nvPr/>
          </p:nvGrpSpPr>
          <p:grpSpPr>
            <a:xfrm>
              <a:off x="1072000" y="1030797"/>
              <a:ext cx="3417637" cy="3574498"/>
              <a:chOff x="6431687" y="1180975"/>
              <a:chExt cx="5096398" cy="5330311"/>
            </a:xfrm>
          </p:grpSpPr>
          <p:grpSp>
            <p:nvGrpSpPr>
              <p:cNvPr id="9" name="Gruppo 2">
                <a:extLst>
                  <a:ext uri="{FF2B5EF4-FFF2-40B4-BE49-F238E27FC236}">
                    <a16:creationId xmlns:a16="http://schemas.microsoft.com/office/drawing/2014/main" id="{901859F9-E289-0927-59E6-CE6F51524176}"/>
                  </a:ext>
                </a:extLst>
              </p:cNvPr>
              <p:cNvGrpSpPr>
                <a:grpSpLocks noChangeAspect="1"/>
              </p:cNvGrpSpPr>
              <p:nvPr/>
            </p:nvGrpSpPr>
            <p:grpSpPr bwMode="auto">
              <a:xfrm>
                <a:off x="6848477" y="1180975"/>
                <a:ext cx="4679608" cy="5330311"/>
                <a:chOff x="2233037" y="1519528"/>
                <a:chExt cx="2759077" cy="3065643"/>
              </a:xfrm>
            </p:grpSpPr>
            <p:sp>
              <p:nvSpPr>
                <p:cNvPr id="20" name="Freeform 24">
                  <a:extLst>
                    <a:ext uri="{FF2B5EF4-FFF2-40B4-BE49-F238E27FC236}">
                      <a16:creationId xmlns:a16="http://schemas.microsoft.com/office/drawing/2014/main" id="{7F4AB2AF-7587-B6F6-CA45-88CC644F9C33}"/>
                    </a:ext>
                  </a:extLst>
                </p:cNvPr>
                <p:cNvSpPr>
                  <a:spLocks/>
                </p:cNvSpPr>
                <p:nvPr/>
              </p:nvSpPr>
              <p:spPr bwMode="auto">
                <a:xfrm>
                  <a:off x="2786554" y="2142592"/>
                  <a:ext cx="772797" cy="361916"/>
                </a:xfrm>
                <a:custGeom>
                  <a:avLst/>
                  <a:gdLst>
                    <a:gd name="T0" fmla="*/ 2147483646 w 1089"/>
                    <a:gd name="T1" fmla="*/ 2147483646 h 510"/>
                    <a:gd name="T2" fmla="*/ 2147483646 w 1089"/>
                    <a:gd name="T3" fmla="*/ 2147483646 h 510"/>
                    <a:gd name="T4" fmla="*/ 2147483646 w 1089"/>
                    <a:gd name="T5" fmla="*/ 2147483646 h 510"/>
                    <a:gd name="T6" fmla="*/ 2147483646 w 1089"/>
                    <a:gd name="T7" fmla="*/ 2147483646 h 510"/>
                    <a:gd name="T8" fmla="*/ 2147483646 w 1089"/>
                    <a:gd name="T9" fmla="*/ 2147483646 h 510"/>
                    <a:gd name="T10" fmla="*/ 2147483646 w 1089"/>
                    <a:gd name="T11" fmla="*/ 2147483646 h 510"/>
                    <a:gd name="T12" fmla="*/ 2147483646 w 1089"/>
                    <a:gd name="T13" fmla="*/ 2147483646 h 510"/>
                    <a:gd name="T14" fmla="*/ 2147483646 w 1089"/>
                    <a:gd name="T15" fmla="*/ 2147483646 h 510"/>
                    <a:gd name="T16" fmla="*/ 2147483646 w 1089"/>
                    <a:gd name="T17" fmla="*/ 2147483646 h 510"/>
                    <a:gd name="T18" fmla="*/ 2147483646 w 1089"/>
                    <a:gd name="T19" fmla="*/ 2147483646 h 510"/>
                    <a:gd name="T20" fmla="*/ 2147483646 w 1089"/>
                    <a:gd name="T21" fmla="*/ 2147483646 h 510"/>
                    <a:gd name="T22" fmla="*/ 2147483646 w 1089"/>
                    <a:gd name="T23" fmla="*/ 2147483646 h 510"/>
                    <a:gd name="T24" fmla="*/ 2147483646 w 1089"/>
                    <a:gd name="T25" fmla="*/ 2147483646 h 510"/>
                    <a:gd name="T26" fmla="*/ 2147483646 w 1089"/>
                    <a:gd name="T27" fmla="*/ 2147483646 h 510"/>
                    <a:gd name="T28" fmla="*/ 2147483646 w 1089"/>
                    <a:gd name="T29" fmla="*/ 2147483646 h 510"/>
                    <a:gd name="T30" fmla="*/ 2147483646 w 1089"/>
                    <a:gd name="T31" fmla="*/ 2147483646 h 510"/>
                    <a:gd name="T32" fmla="*/ 2147483646 w 1089"/>
                    <a:gd name="T33" fmla="*/ 2147483646 h 510"/>
                    <a:gd name="T34" fmla="*/ 2147483646 w 1089"/>
                    <a:gd name="T35" fmla="*/ 2147483646 h 510"/>
                    <a:gd name="T36" fmla="*/ 2147483646 w 1089"/>
                    <a:gd name="T37" fmla="*/ 2147483646 h 510"/>
                    <a:gd name="T38" fmla="*/ 2147483646 w 1089"/>
                    <a:gd name="T39" fmla="*/ 2147483646 h 510"/>
                    <a:gd name="T40" fmla="*/ 2147483646 w 1089"/>
                    <a:gd name="T41" fmla="*/ 2147483646 h 510"/>
                    <a:gd name="T42" fmla="*/ 2147483646 w 1089"/>
                    <a:gd name="T43" fmla="*/ 2147483646 h 510"/>
                    <a:gd name="T44" fmla="*/ 2147483646 w 1089"/>
                    <a:gd name="T45" fmla="*/ 2147483646 h 510"/>
                    <a:gd name="T46" fmla="*/ 2147483646 w 1089"/>
                    <a:gd name="T47" fmla="*/ 2147483646 h 510"/>
                    <a:gd name="T48" fmla="*/ 2147483646 w 1089"/>
                    <a:gd name="T49" fmla="*/ 2147483646 h 510"/>
                    <a:gd name="T50" fmla="*/ 2147483646 w 1089"/>
                    <a:gd name="T51" fmla="*/ 2147483646 h 510"/>
                    <a:gd name="T52" fmla="*/ 2147483646 w 1089"/>
                    <a:gd name="T53" fmla="*/ 2147483646 h 510"/>
                    <a:gd name="T54" fmla="*/ 2147483646 w 1089"/>
                    <a:gd name="T55" fmla="*/ 2147483646 h 510"/>
                    <a:gd name="T56" fmla="*/ 2147483646 w 1089"/>
                    <a:gd name="T57" fmla="*/ 2147483646 h 510"/>
                    <a:gd name="T58" fmla="*/ 2147483646 w 1089"/>
                    <a:gd name="T59" fmla="*/ 2147483646 h 510"/>
                    <a:gd name="T60" fmla="*/ 2147483646 w 1089"/>
                    <a:gd name="T61" fmla="*/ 2147483646 h 510"/>
                    <a:gd name="T62" fmla="*/ 2147483646 w 1089"/>
                    <a:gd name="T63" fmla="*/ 2147483646 h 510"/>
                    <a:gd name="T64" fmla="*/ 2147483646 w 1089"/>
                    <a:gd name="T65" fmla="*/ 2147483646 h 510"/>
                    <a:gd name="T66" fmla="*/ 2147483646 w 1089"/>
                    <a:gd name="T67" fmla="*/ 2147483646 h 510"/>
                    <a:gd name="T68" fmla="*/ 2147483646 w 1089"/>
                    <a:gd name="T69" fmla="*/ 2147483646 h 510"/>
                    <a:gd name="T70" fmla="*/ 2147483646 w 1089"/>
                    <a:gd name="T71" fmla="*/ 2147483646 h 510"/>
                    <a:gd name="T72" fmla="*/ 2147483646 w 1089"/>
                    <a:gd name="T73" fmla="*/ 2147483646 h 510"/>
                    <a:gd name="T74" fmla="*/ 2147483646 w 1089"/>
                    <a:gd name="T75" fmla="*/ 2147483646 h 510"/>
                    <a:gd name="T76" fmla="*/ 2147483646 w 1089"/>
                    <a:gd name="T77" fmla="*/ 2147483646 h 510"/>
                    <a:gd name="T78" fmla="*/ 2147483646 w 1089"/>
                    <a:gd name="T79" fmla="*/ 2147483646 h 510"/>
                    <a:gd name="T80" fmla="*/ 2147483646 w 1089"/>
                    <a:gd name="T81" fmla="*/ 2147483646 h 510"/>
                    <a:gd name="T82" fmla="*/ 2147483646 w 1089"/>
                    <a:gd name="T83" fmla="*/ 2147483646 h 510"/>
                    <a:gd name="T84" fmla="*/ 2147483646 w 1089"/>
                    <a:gd name="T85" fmla="*/ 2147483646 h 510"/>
                    <a:gd name="T86" fmla="*/ 2147483646 w 1089"/>
                    <a:gd name="T87" fmla="*/ 2147483646 h 510"/>
                    <a:gd name="T88" fmla="*/ 2147483646 w 1089"/>
                    <a:gd name="T89" fmla="*/ 2147483646 h 510"/>
                    <a:gd name="T90" fmla="*/ 2147483646 w 1089"/>
                    <a:gd name="T91" fmla="*/ 2147483646 h 510"/>
                    <a:gd name="T92" fmla="*/ 2147483646 w 1089"/>
                    <a:gd name="T93" fmla="*/ 2147483646 h 510"/>
                    <a:gd name="T94" fmla="*/ 2147483646 w 1089"/>
                    <a:gd name="T95" fmla="*/ 2147483646 h 510"/>
                    <a:gd name="T96" fmla="*/ 2147483646 w 1089"/>
                    <a:gd name="T97" fmla="*/ 2147483646 h 510"/>
                    <a:gd name="T98" fmla="*/ 2147483646 w 1089"/>
                    <a:gd name="T99" fmla="*/ 2147483646 h 510"/>
                    <a:gd name="T100" fmla="*/ 0 w 1089"/>
                    <a:gd name="T101" fmla="*/ 2147483646 h 510"/>
                    <a:gd name="T102" fmla="*/ 2147483646 w 1089"/>
                    <a:gd name="T103" fmla="*/ 2147483646 h 510"/>
                    <a:gd name="T104" fmla="*/ 2147483646 w 1089"/>
                    <a:gd name="T105" fmla="*/ 2147483646 h 510"/>
                    <a:gd name="T106" fmla="*/ 2147483646 w 1089"/>
                    <a:gd name="T107" fmla="*/ 2147483646 h 510"/>
                    <a:gd name="T108" fmla="*/ 2147483646 w 1089"/>
                    <a:gd name="T109" fmla="*/ 2147483646 h 51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89" h="510">
                      <a:moveTo>
                        <a:pt x="162" y="317"/>
                      </a:moveTo>
                      <a:lnTo>
                        <a:pt x="178" y="299"/>
                      </a:lnTo>
                      <a:lnTo>
                        <a:pt x="196" y="291"/>
                      </a:lnTo>
                      <a:lnTo>
                        <a:pt x="219" y="291"/>
                      </a:lnTo>
                      <a:lnTo>
                        <a:pt x="245" y="296"/>
                      </a:lnTo>
                      <a:lnTo>
                        <a:pt x="253" y="311"/>
                      </a:lnTo>
                      <a:lnTo>
                        <a:pt x="271" y="322"/>
                      </a:lnTo>
                      <a:lnTo>
                        <a:pt x="294" y="327"/>
                      </a:lnTo>
                      <a:lnTo>
                        <a:pt x="312" y="340"/>
                      </a:lnTo>
                      <a:lnTo>
                        <a:pt x="327" y="347"/>
                      </a:lnTo>
                      <a:lnTo>
                        <a:pt x="350" y="347"/>
                      </a:lnTo>
                      <a:lnTo>
                        <a:pt x="371" y="366"/>
                      </a:lnTo>
                      <a:lnTo>
                        <a:pt x="386" y="376"/>
                      </a:lnTo>
                      <a:lnTo>
                        <a:pt x="402" y="386"/>
                      </a:lnTo>
                      <a:lnTo>
                        <a:pt x="420" y="396"/>
                      </a:lnTo>
                      <a:lnTo>
                        <a:pt x="435" y="407"/>
                      </a:lnTo>
                      <a:lnTo>
                        <a:pt x="459" y="404"/>
                      </a:lnTo>
                      <a:lnTo>
                        <a:pt x="492" y="407"/>
                      </a:lnTo>
                      <a:lnTo>
                        <a:pt x="515" y="404"/>
                      </a:lnTo>
                      <a:lnTo>
                        <a:pt x="538" y="404"/>
                      </a:lnTo>
                      <a:lnTo>
                        <a:pt x="562" y="402"/>
                      </a:lnTo>
                      <a:lnTo>
                        <a:pt x="582" y="399"/>
                      </a:lnTo>
                      <a:lnTo>
                        <a:pt x="613" y="389"/>
                      </a:lnTo>
                      <a:lnTo>
                        <a:pt x="631" y="378"/>
                      </a:lnTo>
                      <a:lnTo>
                        <a:pt x="647" y="360"/>
                      </a:lnTo>
                      <a:lnTo>
                        <a:pt x="665" y="353"/>
                      </a:lnTo>
                      <a:lnTo>
                        <a:pt x="688" y="353"/>
                      </a:lnTo>
                      <a:lnTo>
                        <a:pt x="693" y="366"/>
                      </a:lnTo>
                      <a:lnTo>
                        <a:pt x="711" y="378"/>
                      </a:lnTo>
                      <a:lnTo>
                        <a:pt x="729" y="368"/>
                      </a:lnTo>
                      <a:lnTo>
                        <a:pt x="752" y="366"/>
                      </a:lnTo>
                      <a:lnTo>
                        <a:pt x="760" y="381"/>
                      </a:lnTo>
                      <a:lnTo>
                        <a:pt x="775" y="391"/>
                      </a:lnTo>
                      <a:lnTo>
                        <a:pt x="773" y="412"/>
                      </a:lnTo>
                      <a:lnTo>
                        <a:pt x="760" y="438"/>
                      </a:lnTo>
                      <a:lnTo>
                        <a:pt x="778" y="445"/>
                      </a:lnTo>
                      <a:lnTo>
                        <a:pt x="783" y="461"/>
                      </a:lnTo>
                      <a:lnTo>
                        <a:pt x="783" y="481"/>
                      </a:lnTo>
                      <a:lnTo>
                        <a:pt x="811" y="494"/>
                      </a:lnTo>
                      <a:lnTo>
                        <a:pt x="827" y="505"/>
                      </a:lnTo>
                      <a:lnTo>
                        <a:pt x="837" y="505"/>
                      </a:lnTo>
                      <a:lnTo>
                        <a:pt x="860" y="510"/>
                      </a:lnTo>
                      <a:lnTo>
                        <a:pt x="881" y="510"/>
                      </a:lnTo>
                      <a:lnTo>
                        <a:pt x="899" y="507"/>
                      </a:lnTo>
                      <a:lnTo>
                        <a:pt x="917" y="499"/>
                      </a:lnTo>
                      <a:lnTo>
                        <a:pt x="909" y="481"/>
                      </a:lnTo>
                      <a:lnTo>
                        <a:pt x="914" y="463"/>
                      </a:lnTo>
                      <a:lnTo>
                        <a:pt x="917" y="443"/>
                      </a:lnTo>
                      <a:lnTo>
                        <a:pt x="935" y="435"/>
                      </a:lnTo>
                      <a:lnTo>
                        <a:pt x="953" y="425"/>
                      </a:lnTo>
                      <a:lnTo>
                        <a:pt x="963" y="422"/>
                      </a:lnTo>
                      <a:lnTo>
                        <a:pt x="979" y="404"/>
                      </a:lnTo>
                      <a:lnTo>
                        <a:pt x="989" y="396"/>
                      </a:lnTo>
                      <a:lnTo>
                        <a:pt x="1004" y="389"/>
                      </a:lnTo>
                      <a:lnTo>
                        <a:pt x="1020" y="386"/>
                      </a:lnTo>
                      <a:lnTo>
                        <a:pt x="1025" y="399"/>
                      </a:lnTo>
                      <a:lnTo>
                        <a:pt x="1025" y="417"/>
                      </a:lnTo>
                      <a:lnTo>
                        <a:pt x="1020" y="432"/>
                      </a:lnTo>
                      <a:lnTo>
                        <a:pt x="1022" y="432"/>
                      </a:lnTo>
                      <a:lnTo>
                        <a:pt x="1030" y="443"/>
                      </a:lnTo>
                      <a:lnTo>
                        <a:pt x="1038" y="443"/>
                      </a:lnTo>
                      <a:lnTo>
                        <a:pt x="1046" y="453"/>
                      </a:lnTo>
                      <a:lnTo>
                        <a:pt x="1061" y="456"/>
                      </a:lnTo>
                      <a:lnTo>
                        <a:pt x="1079" y="448"/>
                      </a:lnTo>
                      <a:lnTo>
                        <a:pt x="1087" y="432"/>
                      </a:lnTo>
                      <a:lnTo>
                        <a:pt x="1089" y="414"/>
                      </a:lnTo>
                      <a:lnTo>
                        <a:pt x="1087" y="399"/>
                      </a:lnTo>
                      <a:lnTo>
                        <a:pt x="1066" y="396"/>
                      </a:lnTo>
                      <a:lnTo>
                        <a:pt x="1046" y="389"/>
                      </a:lnTo>
                      <a:lnTo>
                        <a:pt x="1028" y="373"/>
                      </a:lnTo>
                      <a:lnTo>
                        <a:pt x="1015" y="363"/>
                      </a:lnTo>
                      <a:lnTo>
                        <a:pt x="999" y="350"/>
                      </a:lnTo>
                      <a:lnTo>
                        <a:pt x="984" y="340"/>
                      </a:lnTo>
                      <a:lnTo>
                        <a:pt x="963" y="319"/>
                      </a:lnTo>
                      <a:lnTo>
                        <a:pt x="953" y="299"/>
                      </a:lnTo>
                      <a:lnTo>
                        <a:pt x="945" y="283"/>
                      </a:lnTo>
                      <a:lnTo>
                        <a:pt x="943" y="250"/>
                      </a:lnTo>
                      <a:lnTo>
                        <a:pt x="932" y="226"/>
                      </a:lnTo>
                      <a:lnTo>
                        <a:pt x="925" y="211"/>
                      </a:lnTo>
                      <a:lnTo>
                        <a:pt x="922" y="180"/>
                      </a:lnTo>
                      <a:lnTo>
                        <a:pt x="919" y="160"/>
                      </a:lnTo>
                      <a:lnTo>
                        <a:pt x="914" y="144"/>
                      </a:lnTo>
                      <a:lnTo>
                        <a:pt x="909" y="129"/>
                      </a:lnTo>
                      <a:lnTo>
                        <a:pt x="901" y="113"/>
                      </a:lnTo>
                      <a:lnTo>
                        <a:pt x="904" y="105"/>
                      </a:lnTo>
                      <a:lnTo>
                        <a:pt x="904" y="77"/>
                      </a:lnTo>
                      <a:lnTo>
                        <a:pt x="909" y="64"/>
                      </a:lnTo>
                      <a:lnTo>
                        <a:pt x="935" y="54"/>
                      </a:lnTo>
                      <a:lnTo>
                        <a:pt x="945" y="28"/>
                      </a:lnTo>
                      <a:lnTo>
                        <a:pt x="925" y="39"/>
                      </a:lnTo>
                      <a:lnTo>
                        <a:pt x="899" y="33"/>
                      </a:lnTo>
                      <a:lnTo>
                        <a:pt x="883" y="23"/>
                      </a:lnTo>
                      <a:lnTo>
                        <a:pt x="868" y="13"/>
                      </a:lnTo>
                      <a:lnTo>
                        <a:pt x="840" y="8"/>
                      </a:lnTo>
                      <a:lnTo>
                        <a:pt x="816" y="0"/>
                      </a:lnTo>
                      <a:lnTo>
                        <a:pt x="793" y="3"/>
                      </a:lnTo>
                      <a:lnTo>
                        <a:pt x="770" y="3"/>
                      </a:lnTo>
                      <a:lnTo>
                        <a:pt x="752" y="13"/>
                      </a:lnTo>
                      <a:lnTo>
                        <a:pt x="737" y="28"/>
                      </a:lnTo>
                      <a:lnTo>
                        <a:pt x="721" y="44"/>
                      </a:lnTo>
                      <a:lnTo>
                        <a:pt x="698" y="46"/>
                      </a:lnTo>
                      <a:lnTo>
                        <a:pt x="672" y="41"/>
                      </a:lnTo>
                      <a:lnTo>
                        <a:pt x="644" y="26"/>
                      </a:lnTo>
                      <a:lnTo>
                        <a:pt x="623" y="33"/>
                      </a:lnTo>
                      <a:lnTo>
                        <a:pt x="600" y="36"/>
                      </a:lnTo>
                      <a:lnTo>
                        <a:pt x="582" y="46"/>
                      </a:lnTo>
                      <a:lnTo>
                        <a:pt x="564" y="54"/>
                      </a:lnTo>
                      <a:lnTo>
                        <a:pt x="546" y="44"/>
                      </a:lnTo>
                      <a:lnTo>
                        <a:pt x="520" y="39"/>
                      </a:lnTo>
                      <a:lnTo>
                        <a:pt x="502" y="46"/>
                      </a:lnTo>
                      <a:lnTo>
                        <a:pt x="484" y="64"/>
                      </a:lnTo>
                      <a:lnTo>
                        <a:pt x="464" y="64"/>
                      </a:lnTo>
                      <a:lnTo>
                        <a:pt x="459" y="49"/>
                      </a:lnTo>
                      <a:lnTo>
                        <a:pt x="441" y="39"/>
                      </a:lnTo>
                      <a:lnTo>
                        <a:pt x="417" y="39"/>
                      </a:lnTo>
                      <a:lnTo>
                        <a:pt x="399" y="51"/>
                      </a:lnTo>
                      <a:lnTo>
                        <a:pt x="384" y="67"/>
                      </a:lnTo>
                      <a:lnTo>
                        <a:pt x="363" y="77"/>
                      </a:lnTo>
                      <a:lnTo>
                        <a:pt x="358" y="59"/>
                      </a:lnTo>
                      <a:lnTo>
                        <a:pt x="332" y="57"/>
                      </a:lnTo>
                      <a:lnTo>
                        <a:pt x="301" y="41"/>
                      </a:lnTo>
                      <a:lnTo>
                        <a:pt x="278" y="44"/>
                      </a:lnTo>
                      <a:lnTo>
                        <a:pt x="253" y="36"/>
                      </a:lnTo>
                      <a:lnTo>
                        <a:pt x="237" y="26"/>
                      </a:lnTo>
                      <a:lnTo>
                        <a:pt x="219" y="8"/>
                      </a:lnTo>
                      <a:lnTo>
                        <a:pt x="191" y="3"/>
                      </a:lnTo>
                      <a:lnTo>
                        <a:pt x="173" y="10"/>
                      </a:lnTo>
                      <a:lnTo>
                        <a:pt x="157" y="26"/>
                      </a:lnTo>
                      <a:lnTo>
                        <a:pt x="134" y="28"/>
                      </a:lnTo>
                      <a:lnTo>
                        <a:pt x="119" y="18"/>
                      </a:lnTo>
                      <a:lnTo>
                        <a:pt x="101" y="8"/>
                      </a:lnTo>
                      <a:lnTo>
                        <a:pt x="83" y="15"/>
                      </a:lnTo>
                      <a:lnTo>
                        <a:pt x="62" y="26"/>
                      </a:lnTo>
                      <a:lnTo>
                        <a:pt x="44" y="33"/>
                      </a:lnTo>
                      <a:lnTo>
                        <a:pt x="41" y="54"/>
                      </a:lnTo>
                      <a:lnTo>
                        <a:pt x="34" y="85"/>
                      </a:lnTo>
                      <a:lnTo>
                        <a:pt x="34" y="105"/>
                      </a:lnTo>
                      <a:lnTo>
                        <a:pt x="41" y="118"/>
                      </a:lnTo>
                      <a:lnTo>
                        <a:pt x="54" y="136"/>
                      </a:lnTo>
                      <a:lnTo>
                        <a:pt x="62" y="180"/>
                      </a:lnTo>
                      <a:lnTo>
                        <a:pt x="49" y="170"/>
                      </a:lnTo>
                      <a:lnTo>
                        <a:pt x="39" y="178"/>
                      </a:lnTo>
                      <a:lnTo>
                        <a:pt x="34" y="180"/>
                      </a:lnTo>
                      <a:lnTo>
                        <a:pt x="21" y="190"/>
                      </a:lnTo>
                      <a:lnTo>
                        <a:pt x="11" y="208"/>
                      </a:lnTo>
                      <a:lnTo>
                        <a:pt x="3" y="224"/>
                      </a:lnTo>
                      <a:lnTo>
                        <a:pt x="0" y="245"/>
                      </a:lnTo>
                      <a:lnTo>
                        <a:pt x="3" y="247"/>
                      </a:lnTo>
                      <a:lnTo>
                        <a:pt x="26" y="245"/>
                      </a:lnTo>
                      <a:lnTo>
                        <a:pt x="49" y="245"/>
                      </a:lnTo>
                      <a:lnTo>
                        <a:pt x="65" y="255"/>
                      </a:lnTo>
                      <a:lnTo>
                        <a:pt x="80" y="265"/>
                      </a:lnTo>
                      <a:lnTo>
                        <a:pt x="70" y="288"/>
                      </a:lnTo>
                      <a:lnTo>
                        <a:pt x="75" y="304"/>
                      </a:lnTo>
                      <a:lnTo>
                        <a:pt x="98" y="304"/>
                      </a:lnTo>
                      <a:lnTo>
                        <a:pt x="124" y="309"/>
                      </a:lnTo>
                      <a:lnTo>
                        <a:pt x="129" y="324"/>
                      </a:lnTo>
                      <a:lnTo>
                        <a:pt x="150" y="335"/>
                      </a:lnTo>
                      <a:lnTo>
                        <a:pt x="162" y="317"/>
                      </a:lnTo>
                      <a:close/>
                    </a:path>
                  </a:pathLst>
                </a:custGeom>
                <a:solidFill>
                  <a:schemeClr val="accent6">
                    <a:lumMod val="40000"/>
                    <a:lumOff val="60000"/>
                  </a:schemeClr>
                </a:solidFill>
                <a:ln w="3175">
                  <a:solidFill>
                    <a:schemeClr val="tx2">
                      <a:lumMod val="40000"/>
                      <a:lumOff val="60000"/>
                    </a:schemeClr>
                  </a:solidFill>
                  <a:round/>
                  <a:headEnd/>
                  <a:tailEnd/>
                </a:ln>
              </p:spPr>
              <p:txBody>
                <a:bodyPr/>
                <a:lstStyle/>
                <a:p>
                  <a:pPr defTabSz="914377"/>
                  <a:endParaRPr lang="it-IT" dirty="0">
                    <a:latin typeface="Univers Condensed" panose="020B0506020202050204" pitchFamily="34" charset="0"/>
                  </a:endParaRPr>
                </a:p>
              </p:txBody>
            </p:sp>
            <p:sp>
              <p:nvSpPr>
                <p:cNvPr id="21" name="Freeform 5">
                  <a:extLst>
                    <a:ext uri="{FF2B5EF4-FFF2-40B4-BE49-F238E27FC236}">
                      <a16:creationId xmlns:a16="http://schemas.microsoft.com/office/drawing/2014/main" id="{27608DB7-939E-2A94-402A-B98E4C41ADA7}"/>
                    </a:ext>
                  </a:extLst>
                </p:cNvPr>
                <p:cNvSpPr>
                  <a:spLocks/>
                </p:cNvSpPr>
                <p:nvPr/>
              </p:nvSpPr>
              <p:spPr bwMode="auto">
                <a:xfrm>
                  <a:off x="3892172" y="2938807"/>
                  <a:ext cx="281727" cy="221408"/>
                </a:xfrm>
                <a:custGeom>
                  <a:avLst/>
                  <a:gdLst>
                    <a:gd name="T0" fmla="*/ 2147483646 w 397"/>
                    <a:gd name="T1" fmla="*/ 2147483646 h 312"/>
                    <a:gd name="T2" fmla="*/ 2147483646 w 397"/>
                    <a:gd name="T3" fmla="*/ 2147483646 h 312"/>
                    <a:gd name="T4" fmla="*/ 2147483646 w 397"/>
                    <a:gd name="T5" fmla="*/ 2147483646 h 312"/>
                    <a:gd name="T6" fmla="*/ 2147483646 w 397"/>
                    <a:gd name="T7" fmla="*/ 2147483646 h 312"/>
                    <a:gd name="T8" fmla="*/ 2147483646 w 397"/>
                    <a:gd name="T9" fmla="*/ 2147483646 h 312"/>
                    <a:gd name="T10" fmla="*/ 2147483646 w 397"/>
                    <a:gd name="T11" fmla="*/ 2147483646 h 312"/>
                    <a:gd name="T12" fmla="*/ 2147483646 w 397"/>
                    <a:gd name="T13" fmla="*/ 2147483646 h 312"/>
                    <a:gd name="T14" fmla="*/ 2147483646 w 397"/>
                    <a:gd name="T15" fmla="*/ 2147483646 h 312"/>
                    <a:gd name="T16" fmla="*/ 2147483646 w 397"/>
                    <a:gd name="T17" fmla="*/ 2147483646 h 312"/>
                    <a:gd name="T18" fmla="*/ 2147483646 w 397"/>
                    <a:gd name="T19" fmla="*/ 2147483646 h 312"/>
                    <a:gd name="T20" fmla="*/ 2147483646 w 397"/>
                    <a:gd name="T21" fmla="*/ 2147483646 h 312"/>
                    <a:gd name="T22" fmla="*/ 2147483646 w 397"/>
                    <a:gd name="T23" fmla="*/ 2147483646 h 312"/>
                    <a:gd name="T24" fmla="*/ 2147483646 w 397"/>
                    <a:gd name="T25" fmla="*/ 2147483646 h 312"/>
                    <a:gd name="T26" fmla="*/ 2147483646 w 397"/>
                    <a:gd name="T27" fmla="*/ 2147483646 h 312"/>
                    <a:gd name="T28" fmla="*/ 2147483646 w 397"/>
                    <a:gd name="T29" fmla="*/ 2147483646 h 312"/>
                    <a:gd name="T30" fmla="*/ 2147483646 w 397"/>
                    <a:gd name="T31" fmla="*/ 2147483646 h 312"/>
                    <a:gd name="T32" fmla="*/ 2147483646 w 397"/>
                    <a:gd name="T33" fmla="*/ 2147483646 h 312"/>
                    <a:gd name="T34" fmla="*/ 2147483646 w 397"/>
                    <a:gd name="T35" fmla="*/ 2147483646 h 312"/>
                    <a:gd name="T36" fmla="*/ 2147483646 w 397"/>
                    <a:gd name="T37" fmla="*/ 2147483646 h 312"/>
                    <a:gd name="T38" fmla="*/ 2147483646 w 397"/>
                    <a:gd name="T39" fmla="*/ 2147483646 h 312"/>
                    <a:gd name="T40" fmla="*/ 2147483646 w 397"/>
                    <a:gd name="T41" fmla="*/ 2147483646 h 312"/>
                    <a:gd name="T42" fmla="*/ 2147483646 w 397"/>
                    <a:gd name="T43" fmla="*/ 2147483646 h 312"/>
                    <a:gd name="T44" fmla="*/ 2147483646 w 397"/>
                    <a:gd name="T45" fmla="*/ 2147483646 h 312"/>
                    <a:gd name="T46" fmla="*/ 2147483646 w 397"/>
                    <a:gd name="T47" fmla="*/ 2147483646 h 312"/>
                    <a:gd name="T48" fmla="*/ 2147483646 w 397"/>
                    <a:gd name="T49" fmla="*/ 2147483646 h 312"/>
                    <a:gd name="T50" fmla="*/ 2147483646 w 397"/>
                    <a:gd name="T51" fmla="*/ 2147483646 h 312"/>
                    <a:gd name="T52" fmla="*/ 2147483646 w 397"/>
                    <a:gd name="T53" fmla="*/ 2147483646 h 312"/>
                    <a:gd name="T54" fmla="*/ 2147483646 w 397"/>
                    <a:gd name="T55" fmla="*/ 2147483646 h 312"/>
                    <a:gd name="T56" fmla="*/ 2147483646 w 397"/>
                    <a:gd name="T57" fmla="*/ 2147483646 h 312"/>
                    <a:gd name="T58" fmla="*/ 2147483646 w 397"/>
                    <a:gd name="T59" fmla="*/ 2147483646 h 312"/>
                    <a:gd name="T60" fmla="*/ 2147483646 w 397"/>
                    <a:gd name="T61" fmla="*/ 0 h 312"/>
                    <a:gd name="T62" fmla="*/ 2147483646 w 397"/>
                    <a:gd name="T63" fmla="*/ 2147483646 h 312"/>
                    <a:gd name="T64" fmla="*/ 2147483646 w 397"/>
                    <a:gd name="T65" fmla="*/ 2147483646 h 312"/>
                    <a:gd name="T66" fmla="*/ 2147483646 w 397"/>
                    <a:gd name="T67" fmla="*/ 2147483646 h 31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97" h="312">
                      <a:moveTo>
                        <a:pt x="363" y="31"/>
                      </a:moveTo>
                      <a:lnTo>
                        <a:pt x="371" y="44"/>
                      </a:lnTo>
                      <a:lnTo>
                        <a:pt x="381" y="67"/>
                      </a:lnTo>
                      <a:lnTo>
                        <a:pt x="389" y="83"/>
                      </a:lnTo>
                      <a:lnTo>
                        <a:pt x="397" y="96"/>
                      </a:lnTo>
                      <a:lnTo>
                        <a:pt x="389" y="109"/>
                      </a:lnTo>
                      <a:lnTo>
                        <a:pt x="389" y="129"/>
                      </a:lnTo>
                      <a:lnTo>
                        <a:pt x="368" y="137"/>
                      </a:lnTo>
                      <a:lnTo>
                        <a:pt x="350" y="147"/>
                      </a:lnTo>
                      <a:lnTo>
                        <a:pt x="335" y="163"/>
                      </a:lnTo>
                      <a:lnTo>
                        <a:pt x="342" y="178"/>
                      </a:lnTo>
                      <a:lnTo>
                        <a:pt x="342" y="204"/>
                      </a:lnTo>
                      <a:lnTo>
                        <a:pt x="348" y="219"/>
                      </a:lnTo>
                      <a:lnTo>
                        <a:pt x="337" y="242"/>
                      </a:lnTo>
                      <a:lnTo>
                        <a:pt x="322" y="260"/>
                      </a:lnTo>
                      <a:lnTo>
                        <a:pt x="299" y="260"/>
                      </a:lnTo>
                      <a:lnTo>
                        <a:pt x="291" y="245"/>
                      </a:lnTo>
                      <a:lnTo>
                        <a:pt x="275" y="260"/>
                      </a:lnTo>
                      <a:lnTo>
                        <a:pt x="260" y="278"/>
                      </a:lnTo>
                      <a:lnTo>
                        <a:pt x="242" y="286"/>
                      </a:lnTo>
                      <a:lnTo>
                        <a:pt x="227" y="304"/>
                      </a:lnTo>
                      <a:lnTo>
                        <a:pt x="211" y="294"/>
                      </a:lnTo>
                      <a:lnTo>
                        <a:pt x="196" y="291"/>
                      </a:lnTo>
                      <a:lnTo>
                        <a:pt x="180" y="281"/>
                      </a:lnTo>
                      <a:lnTo>
                        <a:pt x="162" y="271"/>
                      </a:lnTo>
                      <a:lnTo>
                        <a:pt x="147" y="260"/>
                      </a:lnTo>
                      <a:lnTo>
                        <a:pt x="121" y="253"/>
                      </a:lnTo>
                      <a:lnTo>
                        <a:pt x="100" y="253"/>
                      </a:lnTo>
                      <a:lnTo>
                        <a:pt x="80" y="263"/>
                      </a:lnTo>
                      <a:lnTo>
                        <a:pt x="67" y="286"/>
                      </a:lnTo>
                      <a:lnTo>
                        <a:pt x="57" y="312"/>
                      </a:lnTo>
                      <a:lnTo>
                        <a:pt x="39" y="302"/>
                      </a:lnTo>
                      <a:lnTo>
                        <a:pt x="33" y="286"/>
                      </a:lnTo>
                      <a:lnTo>
                        <a:pt x="26" y="271"/>
                      </a:lnTo>
                      <a:lnTo>
                        <a:pt x="21" y="255"/>
                      </a:lnTo>
                      <a:lnTo>
                        <a:pt x="21" y="235"/>
                      </a:lnTo>
                      <a:lnTo>
                        <a:pt x="15" y="222"/>
                      </a:lnTo>
                      <a:lnTo>
                        <a:pt x="8" y="206"/>
                      </a:lnTo>
                      <a:lnTo>
                        <a:pt x="0" y="191"/>
                      </a:lnTo>
                      <a:lnTo>
                        <a:pt x="3" y="173"/>
                      </a:lnTo>
                      <a:lnTo>
                        <a:pt x="13" y="168"/>
                      </a:lnTo>
                      <a:lnTo>
                        <a:pt x="36" y="168"/>
                      </a:lnTo>
                      <a:lnTo>
                        <a:pt x="54" y="157"/>
                      </a:lnTo>
                      <a:lnTo>
                        <a:pt x="77" y="155"/>
                      </a:lnTo>
                      <a:lnTo>
                        <a:pt x="80" y="137"/>
                      </a:lnTo>
                      <a:lnTo>
                        <a:pt x="93" y="114"/>
                      </a:lnTo>
                      <a:lnTo>
                        <a:pt x="108" y="96"/>
                      </a:lnTo>
                      <a:lnTo>
                        <a:pt x="134" y="101"/>
                      </a:lnTo>
                      <a:lnTo>
                        <a:pt x="160" y="109"/>
                      </a:lnTo>
                      <a:lnTo>
                        <a:pt x="185" y="114"/>
                      </a:lnTo>
                      <a:lnTo>
                        <a:pt x="198" y="119"/>
                      </a:lnTo>
                      <a:lnTo>
                        <a:pt x="201" y="98"/>
                      </a:lnTo>
                      <a:lnTo>
                        <a:pt x="214" y="75"/>
                      </a:lnTo>
                      <a:lnTo>
                        <a:pt x="224" y="49"/>
                      </a:lnTo>
                      <a:lnTo>
                        <a:pt x="237" y="26"/>
                      </a:lnTo>
                      <a:lnTo>
                        <a:pt x="252" y="8"/>
                      </a:lnTo>
                      <a:lnTo>
                        <a:pt x="250" y="0"/>
                      </a:lnTo>
                      <a:lnTo>
                        <a:pt x="278" y="13"/>
                      </a:lnTo>
                      <a:lnTo>
                        <a:pt x="301" y="13"/>
                      </a:lnTo>
                      <a:lnTo>
                        <a:pt x="327" y="21"/>
                      </a:lnTo>
                      <a:lnTo>
                        <a:pt x="353" y="29"/>
                      </a:lnTo>
                      <a:lnTo>
                        <a:pt x="366" y="29"/>
                      </a:lnTo>
                      <a:lnTo>
                        <a:pt x="363" y="31"/>
                      </a:lnTo>
                      <a:close/>
                    </a:path>
                  </a:pathLst>
                </a:custGeom>
                <a:solidFill>
                  <a:schemeClr val="accent2"/>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22" name="Freeform 6">
                  <a:extLst>
                    <a:ext uri="{FF2B5EF4-FFF2-40B4-BE49-F238E27FC236}">
                      <a16:creationId xmlns:a16="http://schemas.microsoft.com/office/drawing/2014/main" id="{2363CDDE-5EA6-4B82-3184-6779D9947C78}"/>
                    </a:ext>
                  </a:extLst>
                </p:cNvPr>
                <p:cNvSpPr>
                  <a:spLocks/>
                </p:cNvSpPr>
                <p:nvPr/>
              </p:nvSpPr>
              <p:spPr bwMode="auto">
                <a:xfrm>
                  <a:off x="4129902" y="2930291"/>
                  <a:ext cx="862212" cy="545713"/>
                </a:xfrm>
                <a:custGeom>
                  <a:avLst/>
                  <a:gdLst>
                    <a:gd name="T0" fmla="*/ 2147483646 w 1215"/>
                    <a:gd name="T1" fmla="*/ 2147483646 h 769"/>
                    <a:gd name="T2" fmla="*/ 2147483646 w 1215"/>
                    <a:gd name="T3" fmla="*/ 2147483646 h 769"/>
                    <a:gd name="T4" fmla="*/ 2147483646 w 1215"/>
                    <a:gd name="T5" fmla="*/ 2147483646 h 769"/>
                    <a:gd name="T6" fmla="*/ 2147483646 w 1215"/>
                    <a:gd name="T7" fmla="*/ 2147483646 h 769"/>
                    <a:gd name="T8" fmla="*/ 2147483646 w 1215"/>
                    <a:gd name="T9" fmla="*/ 2147483646 h 769"/>
                    <a:gd name="T10" fmla="*/ 2147483646 w 1215"/>
                    <a:gd name="T11" fmla="*/ 2147483646 h 769"/>
                    <a:gd name="T12" fmla="*/ 2147483646 w 1215"/>
                    <a:gd name="T13" fmla="*/ 2147483646 h 769"/>
                    <a:gd name="T14" fmla="*/ 2147483646 w 1215"/>
                    <a:gd name="T15" fmla="*/ 2147483646 h 769"/>
                    <a:gd name="T16" fmla="*/ 2147483646 w 1215"/>
                    <a:gd name="T17" fmla="*/ 2147483646 h 769"/>
                    <a:gd name="T18" fmla="*/ 2147483646 w 1215"/>
                    <a:gd name="T19" fmla="*/ 2147483646 h 769"/>
                    <a:gd name="T20" fmla="*/ 2147483646 w 1215"/>
                    <a:gd name="T21" fmla="*/ 2147483646 h 769"/>
                    <a:gd name="T22" fmla="*/ 2147483646 w 1215"/>
                    <a:gd name="T23" fmla="*/ 2147483646 h 769"/>
                    <a:gd name="T24" fmla="*/ 2147483646 w 1215"/>
                    <a:gd name="T25" fmla="*/ 2147483646 h 769"/>
                    <a:gd name="T26" fmla="*/ 2147483646 w 1215"/>
                    <a:gd name="T27" fmla="*/ 2147483646 h 769"/>
                    <a:gd name="T28" fmla="*/ 2147483646 w 1215"/>
                    <a:gd name="T29" fmla="*/ 2147483646 h 769"/>
                    <a:gd name="T30" fmla="*/ 2147483646 w 1215"/>
                    <a:gd name="T31" fmla="*/ 2147483646 h 769"/>
                    <a:gd name="T32" fmla="*/ 2147483646 w 1215"/>
                    <a:gd name="T33" fmla="*/ 2147483646 h 769"/>
                    <a:gd name="T34" fmla="*/ 2147483646 w 1215"/>
                    <a:gd name="T35" fmla="*/ 2147483646 h 769"/>
                    <a:gd name="T36" fmla="*/ 2147483646 w 1215"/>
                    <a:gd name="T37" fmla="*/ 2147483646 h 769"/>
                    <a:gd name="T38" fmla="*/ 2147483646 w 1215"/>
                    <a:gd name="T39" fmla="*/ 2147483646 h 769"/>
                    <a:gd name="T40" fmla="*/ 2147483646 w 1215"/>
                    <a:gd name="T41" fmla="*/ 2147483646 h 769"/>
                    <a:gd name="T42" fmla="*/ 2147483646 w 1215"/>
                    <a:gd name="T43" fmla="*/ 2147483646 h 769"/>
                    <a:gd name="T44" fmla="*/ 2147483646 w 1215"/>
                    <a:gd name="T45" fmla="*/ 2147483646 h 769"/>
                    <a:gd name="T46" fmla="*/ 2147483646 w 1215"/>
                    <a:gd name="T47" fmla="*/ 2147483646 h 769"/>
                    <a:gd name="T48" fmla="*/ 2147483646 w 1215"/>
                    <a:gd name="T49" fmla="*/ 2147483646 h 769"/>
                    <a:gd name="T50" fmla="*/ 2147483646 w 1215"/>
                    <a:gd name="T51" fmla="*/ 2147483646 h 769"/>
                    <a:gd name="T52" fmla="*/ 2147483646 w 1215"/>
                    <a:gd name="T53" fmla="*/ 2147483646 h 769"/>
                    <a:gd name="T54" fmla="*/ 2147483646 w 1215"/>
                    <a:gd name="T55" fmla="*/ 2147483646 h 769"/>
                    <a:gd name="T56" fmla="*/ 2147483646 w 1215"/>
                    <a:gd name="T57" fmla="*/ 2147483646 h 769"/>
                    <a:gd name="T58" fmla="*/ 2147483646 w 1215"/>
                    <a:gd name="T59" fmla="*/ 2147483646 h 769"/>
                    <a:gd name="T60" fmla="*/ 2147483646 w 1215"/>
                    <a:gd name="T61" fmla="*/ 2147483646 h 769"/>
                    <a:gd name="T62" fmla="*/ 2147483646 w 1215"/>
                    <a:gd name="T63" fmla="*/ 2147483646 h 769"/>
                    <a:gd name="T64" fmla="*/ 2147483646 w 1215"/>
                    <a:gd name="T65" fmla="*/ 2147483646 h 769"/>
                    <a:gd name="T66" fmla="*/ 2147483646 w 1215"/>
                    <a:gd name="T67" fmla="*/ 2147483646 h 769"/>
                    <a:gd name="T68" fmla="*/ 2147483646 w 1215"/>
                    <a:gd name="T69" fmla="*/ 2147483646 h 769"/>
                    <a:gd name="T70" fmla="*/ 2147483646 w 1215"/>
                    <a:gd name="T71" fmla="*/ 2147483646 h 769"/>
                    <a:gd name="T72" fmla="*/ 2147483646 w 1215"/>
                    <a:gd name="T73" fmla="*/ 2147483646 h 769"/>
                    <a:gd name="T74" fmla="*/ 2147483646 w 1215"/>
                    <a:gd name="T75" fmla="*/ 2147483646 h 769"/>
                    <a:gd name="T76" fmla="*/ 2147483646 w 1215"/>
                    <a:gd name="T77" fmla="*/ 2147483646 h 769"/>
                    <a:gd name="T78" fmla="*/ 2147483646 w 1215"/>
                    <a:gd name="T79" fmla="*/ 2147483646 h 769"/>
                    <a:gd name="T80" fmla="*/ 2147483646 w 1215"/>
                    <a:gd name="T81" fmla="*/ 2147483646 h 769"/>
                    <a:gd name="T82" fmla="*/ 2147483646 w 1215"/>
                    <a:gd name="T83" fmla="*/ 2147483646 h 769"/>
                    <a:gd name="T84" fmla="*/ 2147483646 w 1215"/>
                    <a:gd name="T85" fmla="*/ 2147483646 h 769"/>
                    <a:gd name="T86" fmla="*/ 2147483646 w 1215"/>
                    <a:gd name="T87" fmla="*/ 2147483646 h 769"/>
                    <a:gd name="T88" fmla="*/ 2147483646 w 1215"/>
                    <a:gd name="T89" fmla="*/ 2147483646 h 769"/>
                    <a:gd name="T90" fmla="*/ 2147483646 w 1215"/>
                    <a:gd name="T91" fmla="*/ 2147483646 h 769"/>
                    <a:gd name="T92" fmla="*/ 2147483646 w 1215"/>
                    <a:gd name="T93" fmla="*/ 2147483646 h 769"/>
                    <a:gd name="T94" fmla="*/ 2147483646 w 1215"/>
                    <a:gd name="T95" fmla="*/ 2147483646 h 769"/>
                    <a:gd name="T96" fmla="*/ 2147483646 w 1215"/>
                    <a:gd name="T97" fmla="*/ 2147483646 h 769"/>
                    <a:gd name="T98" fmla="*/ 2147483646 w 1215"/>
                    <a:gd name="T99" fmla="*/ 2147483646 h 769"/>
                    <a:gd name="T100" fmla="*/ 2147483646 w 1215"/>
                    <a:gd name="T101" fmla="*/ 0 h 769"/>
                    <a:gd name="T102" fmla="*/ 2147483646 w 1215"/>
                    <a:gd name="T103" fmla="*/ 2147483646 h 769"/>
                    <a:gd name="T104" fmla="*/ 2147483646 w 1215"/>
                    <a:gd name="T105" fmla="*/ 2147483646 h 769"/>
                    <a:gd name="T106" fmla="*/ 2147483646 w 1215"/>
                    <a:gd name="T107" fmla="*/ 2147483646 h 769"/>
                    <a:gd name="T108" fmla="*/ 2147483646 w 1215"/>
                    <a:gd name="T109" fmla="*/ 2147483646 h 76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215" h="769">
                      <a:moveTo>
                        <a:pt x="28" y="41"/>
                      </a:moveTo>
                      <a:lnTo>
                        <a:pt x="36" y="56"/>
                      </a:lnTo>
                      <a:lnTo>
                        <a:pt x="46" y="79"/>
                      </a:lnTo>
                      <a:lnTo>
                        <a:pt x="54" y="95"/>
                      </a:lnTo>
                      <a:lnTo>
                        <a:pt x="62" y="108"/>
                      </a:lnTo>
                      <a:lnTo>
                        <a:pt x="54" y="121"/>
                      </a:lnTo>
                      <a:lnTo>
                        <a:pt x="54" y="141"/>
                      </a:lnTo>
                      <a:lnTo>
                        <a:pt x="33" y="149"/>
                      </a:lnTo>
                      <a:lnTo>
                        <a:pt x="15" y="157"/>
                      </a:lnTo>
                      <a:lnTo>
                        <a:pt x="0" y="175"/>
                      </a:lnTo>
                      <a:lnTo>
                        <a:pt x="7" y="187"/>
                      </a:lnTo>
                      <a:lnTo>
                        <a:pt x="7" y="216"/>
                      </a:lnTo>
                      <a:lnTo>
                        <a:pt x="13" y="229"/>
                      </a:lnTo>
                      <a:lnTo>
                        <a:pt x="18" y="236"/>
                      </a:lnTo>
                      <a:lnTo>
                        <a:pt x="23" y="252"/>
                      </a:lnTo>
                      <a:lnTo>
                        <a:pt x="31" y="267"/>
                      </a:lnTo>
                      <a:lnTo>
                        <a:pt x="38" y="283"/>
                      </a:lnTo>
                      <a:lnTo>
                        <a:pt x="51" y="314"/>
                      </a:lnTo>
                      <a:lnTo>
                        <a:pt x="69" y="324"/>
                      </a:lnTo>
                      <a:lnTo>
                        <a:pt x="98" y="334"/>
                      </a:lnTo>
                      <a:lnTo>
                        <a:pt x="95" y="355"/>
                      </a:lnTo>
                      <a:lnTo>
                        <a:pt x="100" y="368"/>
                      </a:lnTo>
                      <a:lnTo>
                        <a:pt x="118" y="381"/>
                      </a:lnTo>
                      <a:lnTo>
                        <a:pt x="136" y="373"/>
                      </a:lnTo>
                      <a:lnTo>
                        <a:pt x="162" y="375"/>
                      </a:lnTo>
                      <a:lnTo>
                        <a:pt x="188" y="383"/>
                      </a:lnTo>
                      <a:lnTo>
                        <a:pt x="213" y="388"/>
                      </a:lnTo>
                      <a:lnTo>
                        <a:pt x="224" y="386"/>
                      </a:lnTo>
                      <a:lnTo>
                        <a:pt x="219" y="378"/>
                      </a:lnTo>
                      <a:lnTo>
                        <a:pt x="239" y="368"/>
                      </a:lnTo>
                      <a:lnTo>
                        <a:pt x="260" y="368"/>
                      </a:lnTo>
                      <a:lnTo>
                        <a:pt x="283" y="368"/>
                      </a:lnTo>
                      <a:lnTo>
                        <a:pt x="301" y="357"/>
                      </a:lnTo>
                      <a:lnTo>
                        <a:pt x="324" y="355"/>
                      </a:lnTo>
                      <a:lnTo>
                        <a:pt x="340" y="368"/>
                      </a:lnTo>
                      <a:lnTo>
                        <a:pt x="347" y="381"/>
                      </a:lnTo>
                      <a:lnTo>
                        <a:pt x="355" y="396"/>
                      </a:lnTo>
                      <a:lnTo>
                        <a:pt x="373" y="411"/>
                      </a:lnTo>
                      <a:lnTo>
                        <a:pt x="381" y="429"/>
                      </a:lnTo>
                      <a:lnTo>
                        <a:pt x="407" y="435"/>
                      </a:lnTo>
                      <a:lnTo>
                        <a:pt x="425" y="427"/>
                      </a:lnTo>
                      <a:lnTo>
                        <a:pt x="432" y="440"/>
                      </a:lnTo>
                      <a:lnTo>
                        <a:pt x="453" y="460"/>
                      </a:lnTo>
                      <a:lnTo>
                        <a:pt x="461" y="473"/>
                      </a:lnTo>
                      <a:lnTo>
                        <a:pt x="476" y="484"/>
                      </a:lnTo>
                      <a:lnTo>
                        <a:pt x="499" y="484"/>
                      </a:lnTo>
                      <a:lnTo>
                        <a:pt x="522" y="481"/>
                      </a:lnTo>
                      <a:lnTo>
                        <a:pt x="540" y="473"/>
                      </a:lnTo>
                      <a:lnTo>
                        <a:pt x="561" y="471"/>
                      </a:lnTo>
                      <a:lnTo>
                        <a:pt x="579" y="481"/>
                      </a:lnTo>
                      <a:lnTo>
                        <a:pt x="589" y="504"/>
                      </a:lnTo>
                      <a:lnTo>
                        <a:pt x="597" y="520"/>
                      </a:lnTo>
                      <a:lnTo>
                        <a:pt x="594" y="538"/>
                      </a:lnTo>
                      <a:lnTo>
                        <a:pt x="600" y="553"/>
                      </a:lnTo>
                      <a:lnTo>
                        <a:pt x="607" y="569"/>
                      </a:lnTo>
                      <a:lnTo>
                        <a:pt x="615" y="584"/>
                      </a:lnTo>
                      <a:lnTo>
                        <a:pt x="638" y="581"/>
                      </a:lnTo>
                      <a:lnTo>
                        <a:pt x="664" y="589"/>
                      </a:lnTo>
                      <a:lnTo>
                        <a:pt x="667" y="594"/>
                      </a:lnTo>
                      <a:lnTo>
                        <a:pt x="682" y="579"/>
                      </a:lnTo>
                      <a:lnTo>
                        <a:pt x="695" y="556"/>
                      </a:lnTo>
                      <a:lnTo>
                        <a:pt x="710" y="538"/>
                      </a:lnTo>
                      <a:lnTo>
                        <a:pt x="728" y="530"/>
                      </a:lnTo>
                      <a:lnTo>
                        <a:pt x="752" y="527"/>
                      </a:lnTo>
                      <a:lnTo>
                        <a:pt x="767" y="538"/>
                      </a:lnTo>
                      <a:lnTo>
                        <a:pt x="782" y="548"/>
                      </a:lnTo>
                      <a:lnTo>
                        <a:pt x="782" y="569"/>
                      </a:lnTo>
                      <a:lnTo>
                        <a:pt x="788" y="584"/>
                      </a:lnTo>
                      <a:lnTo>
                        <a:pt x="803" y="587"/>
                      </a:lnTo>
                      <a:lnTo>
                        <a:pt x="824" y="584"/>
                      </a:lnTo>
                      <a:lnTo>
                        <a:pt x="842" y="597"/>
                      </a:lnTo>
                      <a:lnTo>
                        <a:pt x="867" y="602"/>
                      </a:lnTo>
                      <a:lnTo>
                        <a:pt x="898" y="594"/>
                      </a:lnTo>
                      <a:lnTo>
                        <a:pt x="921" y="594"/>
                      </a:lnTo>
                      <a:lnTo>
                        <a:pt x="942" y="592"/>
                      </a:lnTo>
                      <a:lnTo>
                        <a:pt x="965" y="592"/>
                      </a:lnTo>
                      <a:lnTo>
                        <a:pt x="991" y="597"/>
                      </a:lnTo>
                      <a:lnTo>
                        <a:pt x="1017" y="602"/>
                      </a:lnTo>
                      <a:lnTo>
                        <a:pt x="1027" y="625"/>
                      </a:lnTo>
                      <a:lnTo>
                        <a:pt x="1035" y="641"/>
                      </a:lnTo>
                      <a:lnTo>
                        <a:pt x="1053" y="659"/>
                      </a:lnTo>
                      <a:lnTo>
                        <a:pt x="1061" y="672"/>
                      </a:lnTo>
                      <a:lnTo>
                        <a:pt x="1068" y="687"/>
                      </a:lnTo>
                      <a:lnTo>
                        <a:pt x="1076" y="702"/>
                      </a:lnTo>
                      <a:lnTo>
                        <a:pt x="1081" y="718"/>
                      </a:lnTo>
                      <a:lnTo>
                        <a:pt x="1091" y="741"/>
                      </a:lnTo>
                      <a:lnTo>
                        <a:pt x="1117" y="746"/>
                      </a:lnTo>
                      <a:lnTo>
                        <a:pt x="1143" y="751"/>
                      </a:lnTo>
                      <a:lnTo>
                        <a:pt x="1161" y="762"/>
                      </a:lnTo>
                      <a:lnTo>
                        <a:pt x="1187" y="769"/>
                      </a:lnTo>
                      <a:lnTo>
                        <a:pt x="1197" y="744"/>
                      </a:lnTo>
                      <a:lnTo>
                        <a:pt x="1192" y="728"/>
                      </a:lnTo>
                      <a:lnTo>
                        <a:pt x="1194" y="710"/>
                      </a:lnTo>
                      <a:lnTo>
                        <a:pt x="1197" y="690"/>
                      </a:lnTo>
                      <a:lnTo>
                        <a:pt x="1200" y="672"/>
                      </a:lnTo>
                      <a:lnTo>
                        <a:pt x="1215" y="656"/>
                      </a:lnTo>
                      <a:lnTo>
                        <a:pt x="1207" y="641"/>
                      </a:lnTo>
                      <a:lnTo>
                        <a:pt x="1202" y="625"/>
                      </a:lnTo>
                      <a:lnTo>
                        <a:pt x="1192" y="602"/>
                      </a:lnTo>
                      <a:lnTo>
                        <a:pt x="1184" y="589"/>
                      </a:lnTo>
                      <a:lnTo>
                        <a:pt x="1179" y="574"/>
                      </a:lnTo>
                      <a:lnTo>
                        <a:pt x="1161" y="561"/>
                      </a:lnTo>
                      <a:lnTo>
                        <a:pt x="1140" y="543"/>
                      </a:lnTo>
                      <a:lnTo>
                        <a:pt x="1112" y="532"/>
                      </a:lnTo>
                      <a:lnTo>
                        <a:pt x="1079" y="509"/>
                      </a:lnTo>
                      <a:lnTo>
                        <a:pt x="1063" y="499"/>
                      </a:lnTo>
                      <a:lnTo>
                        <a:pt x="1045" y="491"/>
                      </a:lnTo>
                      <a:lnTo>
                        <a:pt x="1022" y="463"/>
                      </a:lnTo>
                      <a:lnTo>
                        <a:pt x="1006" y="455"/>
                      </a:lnTo>
                      <a:lnTo>
                        <a:pt x="986" y="435"/>
                      </a:lnTo>
                      <a:lnTo>
                        <a:pt x="960" y="429"/>
                      </a:lnTo>
                      <a:lnTo>
                        <a:pt x="945" y="419"/>
                      </a:lnTo>
                      <a:lnTo>
                        <a:pt x="919" y="411"/>
                      </a:lnTo>
                      <a:lnTo>
                        <a:pt x="893" y="406"/>
                      </a:lnTo>
                      <a:lnTo>
                        <a:pt x="875" y="396"/>
                      </a:lnTo>
                      <a:lnTo>
                        <a:pt x="852" y="399"/>
                      </a:lnTo>
                      <a:lnTo>
                        <a:pt x="837" y="388"/>
                      </a:lnTo>
                      <a:lnTo>
                        <a:pt x="811" y="383"/>
                      </a:lnTo>
                      <a:lnTo>
                        <a:pt x="793" y="363"/>
                      </a:lnTo>
                      <a:lnTo>
                        <a:pt x="775" y="352"/>
                      </a:lnTo>
                      <a:lnTo>
                        <a:pt x="746" y="339"/>
                      </a:lnTo>
                      <a:lnTo>
                        <a:pt x="721" y="334"/>
                      </a:lnTo>
                      <a:lnTo>
                        <a:pt x="692" y="319"/>
                      </a:lnTo>
                      <a:lnTo>
                        <a:pt x="654" y="319"/>
                      </a:lnTo>
                      <a:lnTo>
                        <a:pt x="631" y="314"/>
                      </a:lnTo>
                      <a:lnTo>
                        <a:pt x="600" y="298"/>
                      </a:lnTo>
                      <a:lnTo>
                        <a:pt x="574" y="293"/>
                      </a:lnTo>
                      <a:lnTo>
                        <a:pt x="558" y="283"/>
                      </a:lnTo>
                      <a:lnTo>
                        <a:pt x="533" y="278"/>
                      </a:lnTo>
                      <a:lnTo>
                        <a:pt x="507" y="272"/>
                      </a:lnTo>
                      <a:lnTo>
                        <a:pt x="479" y="265"/>
                      </a:lnTo>
                      <a:lnTo>
                        <a:pt x="463" y="254"/>
                      </a:lnTo>
                      <a:lnTo>
                        <a:pt x="427" y="254"/>
                      </a:lnTo>
                      <a:lnTo>
                        <a:pt x="407" y="234"/>
                      </a:lnTo>
                      <a:lnTo>
                        <a:pt x="373" y="234"/>
                      </a:lnTo>
                      <a:lnTo>
                        <a:pt x="358" y="224"/>
                      </a:lnTo>
                      <a:lnTo>
                        <a:pt x="329" y="216"/>
                      </a:lnTo>
                      <a:lnTo>
                        <a:pt x="301" y="206"/>
                      </a:lnTo>
                      <a:lnTo>
                        <a:pt x="293" y="190"/>
                      </a:lnTo>
                      <a:lnTo>
                        <a:pt x="286" y="167"/>
                      </a:lnTo>
                      <a:lnTo>
                        <a:pt x="296" y="144"/>
                      </a:lnTo>
                      <a:lnTo>
                        <a:pt x="311" y="126"/>
                      </a:lnTo>
                      <a:lnTo>
                        <a:pt x="337" y="105"/>
                      </a:lnTo>
                      <a:lnTo>
                        <a:pt x="352" y="90"/>
                      </a:lnTo>
                      <a:lnTo>
                        <a:pt x="365" y="64"/>
                      </a:lnTo>
                      <a:lnTo>
                        <a:pt x="376" y="43"/>
                      </a:lnTo>
                      <a:lnTo>
                        <a:pt x="368" y="28"/>
                      </a:lnTo>
                      <a:lnTo>
                        <a:pt x="352" y="15"/>
                      </a:lnTo>
                      <a:lnTo>
                        <a:pt x="337" y="7"/>
                      </a:lnTo>
                      <a:lnTo>
                        <a:pt x="311" y="0"/>
                      </a:lnTo>
                      <a:lnTo>
                        <a:pt x="293" y="7"/>
                      </a:lnTo>
                      <a:lnTo>
                        <a:pt x="267" y="12"/>
                      </a:lnTo>
                      <a:lnTo>
                        <a:pt x="249" y="20"/>
                      </a:lnTo>
                      <a:lnTo>
                        <a:pt x="231" y="28"/>
                      </a:lnTo>
                      <a:lnTo>
                        <a:pt x="211" y="38"/>
                      </a:lnTo>
                      <a:lnTo>
                        <a:pt x="188" y="33"/>
                      </a:lnTo>
                      <a:lnTo>
                        <a:pt x="170" y="48"/>
                      </a:lnTo>
                      <a:lnTo>
                        <a:pt x="152" y="56"/>
                      </a:lnTo>
                      <a:lnTo>
                        <a:pt x="134" y="66"/>
                      </a:lnTo>
                      <a:lnTo>
                        <a:pt x="110" y="66"/>
                      </a:lnTo>
                      <a:lnTo>
                        <a:pt x="90" y="69"/>
                      </a:lnTo>
                      <a:lnTo>
                        <a:pt x="46" y="54"/>
                      </a:lnTo>
                      <a:lnTo>
                        <a:pt x="28" y="41"/>
                      </a:lnTo>
                      <a:close/>
                    </a:path>
                  </a:pathLst>
                </a:custGeom>
                <a:solidFill>
                  <a:srgbClr val="005392"/>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23" name="Freeform 7">
                  <a:extLst>
                    <a:ext uri="{FF2B5EF4-FFF2-40B4-BE49-F238E27FC236}">
                      <a16:creationId xmlns:a16="http://schemas.microsoft.com/office/drawing/2014/main" id="{9ED28DAB-6FDE-A82B-C06C-3BC5745C8816}"/>
                    </a:ext>
                  </a:extLst>
                </p:cNvPr>
                <p:cNvSpPr>
                  <a:spLocks/>
                </p:cNvSpPr>
                <p:nvPr/>
              </p:nvSpPr>
              <p:spPr bwMode="auto">
                <a:xfrm>
                  <a:off x="3873722" y="3094218"/>
                  <a:ext cx="504554" cy="418687"/>
                </a:xfrm>
                <a:custGeom>
                  <a:avLst/>
                  <a:gdLst>
                    <a:gd name="T0" fmla="*/ 2147483646 w 711"/>
                    <a:gd name="T1" fmla="*/ 2147483646 h 590"/>
                    <a:gd name="T2" fmla="*/ 2147483646 w 711"/>
                    <a:gd name="T3" fmla="*/ 2147483646 h 590"/>
                    <a:gd name="T4" fmla="*/ 2147483646 w 711"/>
                    <a:gd name="T5" fmla="*/ 2147483646 h 590"/>
                    <a:gd name="T6" fmla="*/ 2147483646 w 711"/>
                    <a:gd name="T7" fmla="*/ 2147483646 h 590"/>
                    <a:gd name="T8" fmla="*/ 2147483646 w 711"/>
                    <a:gd name="T9" fmla="*/ 2147483646 h 590"/>
                    <a:gd name="T10" fmla="*/ 2147483646 w 711"/>
                    <a:gd name="T11" fmla="*/ 2147483646 h 590"/>
                    <a:gd name="T12" fmla="*/ 2147483646 w 711"/>
                    <a:gd name="T13" fmla="*/ 2147483646 h 590"/>
                    <a:gd name="T14" fmla="*/ 2147483646 w 711"/>
                    <a:gd name="T15" fmla="*/ 2147483646 h 590"/>
                    <a:gd name="T16" fmla="*/ 2147483646 w 711"/>
                    <a:gd name="T17" fmla="*/ 2147483646 h 590"/>
                    <a:gd name="T18" fmla="*/ 2147483646 w 711"/>
                    <a:gd name="T19" fmla="*/ 2147483646 h 590"/>
                    <a:gd name="T20" fmla="*/ 2147483646 w 711"/>
                    <a:gd name="T21" fmla="*/ 2147483646 h 590"/>
                    <a:gd name="T22" fmla="*/ 2147483646 w 711"/>
                    <a:gd name="T23" fmla="*/ 2147483646 h 590"/>
                    <a:gd name="T24" fmla="*/ 2147483646 w 711"/>
                    <a:gd name="T25" fmla="*/ 2147483646 h 590"/>
                    <a:gd name="T26" fmla="*/ 2147483646 w 711"/>
                    <a:gd name="T27" fmla="*/ 2147483646 h 590"/>
                    <a:gd name="T28" fmla="*/ 2147483646 w 711"/>
                    <a:gd name="T29" fmla="*/ 2147483646 h 590"/>
                    <a:gd name="T30" fmla="*/ 2147483646 w 711"/>
                    <a:gd name="T31" fmla="*/ 2147483646 h 590"/>
                    <a:gd name="T32" fmla="*/ 0 w 711"/>
                    <a:gd name="T33" fmla="*/ 2147483646 h 590"/>
                    <a:gd name="T34" fmla="*/ 2147483646 w 711"/>
                    <a:gd name="T35" fmla="*/ 2147483646 h 590"/>
                    <a:gd name="T36" fmla="*/ 2147483646 w 711"/>
                    <a:gd name="T37" fmla="*/ 2147483646 h 590"/>
                    <a:gd name="T38" fmla="*/ 2147483646 w 711"/>
                    <a:gd name="T39" fmla="*/ 2147483646 h 590"/>
                    <a:gd name="T40" fmla="*/ 2147483646 w 711"/>
                    <a:gd name="T41" fmla="*/ 2147483646 h 590"/>
                    <a:gd name="T42" fmla="*/ 2147483646 w 711"/>
                    <a:gd name="T43" fmla="*/ 2147483646 h 590"/>
                    <a:gd name="T44" fmla="*/ 2147483646 w 711"/>
                    <a:gd name="T45" fmla="*/ 2147483646 h 590"/>
                    <a:gd name="T46" fmla="*/ 2147483646 w 711"/>
                    <a:gd name="T47" fmla="*/ 2147483646 h 590"/>
                    <a:gd name="T48" fmla="*/ 2147483646 w 711"/>
                    <a:gd name="T49" fmla="*/ 2147483646 h 590"/>
                    <a:gd name="T50" fmla="*/ 2147483646 w 711"/>
                    <a:gd name="T51" fmla="*/ 2147483646 h 590"/>
                    <a:gd name="T52" fmla="*/ 2147483646 w 711"/>
                    <a:gd name="T53" fmla="*/ 2147483646 h 590"/>
                    <a:gd name="T54" fmla="*/ 2147483646 w 711"/>
                    <a:gd name="T55" fmla="*/ 2147483646 h 590"/>
                    <a:gd name="T56" fmla="*/ 2147483646 w 711"/>
                    <a:gd name="T57" fmla="*/ 2147483646 h 590"/>
                    <a:gd name="T58" fmla="*/ 2147483646 w 711"/>
                    <a:gd name="T59" fmla="*/ 2147483646 h 590"/>
                    <a:gd name="T60" fmla="*/ 2147483646 w 711"/>
                    <a:gd name="T61" fmla="*/ 2147483646 h 590"/>
                    <a:gd name="T62" fmla="*/ 2147483646 w 711"/>
                    <a:gd name="T63" fmla="*/ 2147483646 h 590"/>
                    <a:gd name="T64" fmla="*/ 2147483646 w 711"/>
                    <a:gd name="T65" fmla="*/ 2147483646 h 590"/>
                    <a:gd name="T66" fmla="*/ 2147483646 w 711"/>
                    <a:gd name="T67" fmla="*/ 2147483646 h 590"/>
                    <a:gd name="T68" fmla="*/ 2147483646 w 711"/>
                    <a:gd name="T69" fmla="*/ 2147483646 h 590"/>
                    <a:gd name="T70" fmla="*/ 2147483646 w 711"/>
                    <a:gd name="T71" fmla="*/ 2147483646 h 590"/>
                    <a:gd name="T72" fmla="*/ 2147483646 w 711"/>
                    <a:gd name="T73" fmla="*/ 2147483646 h 590"/>
                    <a:gd name="T74" fmla="*/ 2147483646 w 711"/>
                    <a:gd name="T75" fmla="*/ 2147483646 h 590"/>
                    <a:gd name="T76" fmla="*/ 2147483646 w 711"/>
                    <a:gd name="T77" fmla="*/ 2147483646 h 590"/>
                    <a:gd name="T78" fmla="*/ 2147483646 w 711"/>
                    <a:gd name="T79" fmla="*/ 2147483646 h 590"/>
                    <a:gd name="T80" fmla="*/ 2147483646 w 711"/>
                    <a:gd name="T81" fmla="*/ 2147483646 h 590"/>
                    <a:gd name="T82" fmla="*/ 2147483646 w 711"/>
                    <a:gd name="T83" fmla="*/ 2147483646 h 590"/>
                    <a:gd name="T84" fmla="*/ 2147483646 w 711"/>
                    <a:gd name="T85" fmla="*/ 2147483646 h 590"/>
                    <a:gd name="T86" fmla="*/ 2147483646 w 711"/>
                    <a:gd name="T87" fmla="*/ 2147483646 h 590"/>
                    <a:gd name="T88" fmla="*/ 2147483646 w 711"/>
                    <a:gd name="T89" fmla="*/ 2147483646 h 590"/>
                    <a:gd name="T90" fmla="*/ 2147483646 w 711"/>
                    <a:gd name="T91" fmla="*/ 2147483646 h 590"/>
                    <a:gd name="T92" fmla="*/ 2147483646 w 711"/>
                    <a:gd name="T93" fmla="*/ 2147483646 h 590"/>
                    <a:gd name="T94" fmla="*/ 2147483646 w 711"/>
                    <a:gd name="T95" fmla="*/ 2147483646 h 590"/>
                    <a:gd name="T96" fmla="*/ 2147483646 w 711"/>
                    <a:gd name="T97" fmla="*/ 2147483646 h 590"/>
                    <a:gd name="T98" fmla="*/ 2147483646 w 711"/>
                    <a:gd name="T99" fmla="*/ 2147483646 h 590"/>
                    <a:gd name="T100" fmla="*/ 2147483646 w 711"/>
                    <a:gd name="T101" fmla="*/ 2147483646 h 590"/>
                    <a:gd name="T102" fmla="*/ 2147483646 w 711"/>
                    <a:gd name="T103" fmla="*/ 2147483646 h 590"/>
                    <a:gd name="T104" fmla="*/ 2147483646 w 711"/>
                    <a:gd name="T105" fmla="*/ 2147483646 h 590"/>
                    <a:gd name="T106" fmla="*/ 2147483646 w 711"/>
                    <a:gd name="T107" fmla="*/ 2147483646 h 590"/>
                    <a:gd name="T108" fmla="*/ 2147483646 w 711"/>
                    <a:gd name="T109" fmla="*/ 2147483646 h 590"/>
                    <a:gd name="T110" fmla="*/ 2147483646 w 711"/>
                    <a:gd name="T111" fmla="*/ 2147483646 h 590"/>
                    <a:gd name="T112" fmla="*/ 2147483646 w 711"/>
                    <a:gd name="T113" fmla="*/ 2147483646 h 590"/>
                    <a:gd name="T114" fmla="*/ 2147483646 w 711"/>
                    <a:gd name="T115" fmla="*/ 2147483646 h 590"/>
                    <a:gd name="T116" fmla="*/ 2147483646 w 711"/>
                    <a:gd name="T117" fmla="*/ 2147483646 h 590"/>
                    <a:gd name="T118" fmla="*/ 2147483646 w 711"/>
                    <a:gd name="T119" fmla="*/ 2147483646 h 590"/>
                    <a:gd name="T120" fmla="*/ 2147483646 w 711"/>
                    <a:gd name="T121" fmla="*/ 2147483646 h 590"/>
                    <a:gd name="T122" fmla="*/ 2147483646 w 711"/>
                    <a:gd name="T123" fmla="*/ 0 h 59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11" h="590">
                      <a:moveTo>
                        <a:pt x="374" y="0"/>
                      </a:moveTo>
                      <a:lnTo>
                        <a:pt x="363" y="23"/>
                      </a:lnTo>
                      <a:lnTo>
                        <a:pt x="345" y="41"/>
                      </a:lnTo>
                      <a:lnTo>
                        <a:pt x="325" y="41"/>
                      </a:lnTo>
                      <a:lnTo>
                        <a:pt x="317" y="26"/>
                      </a:lnTo>
                      <a:lnTo>
                        <a:pt x="301" y="44"/>
                      </a:lnTo>
                      <a:lnTo>
                        <a:pt x="286" y="59"/>
                      </a:lnTo>
                      <a:lnTo>
                        <a:pt x="268" y="70"/>
                      </a:lnTo>
                      <a:lnTo>
                        <a:pt x="250" y="85"/>
                      </a:lnTo>
                      <a:lnTo>
                        <a:pt x="235" y="75"/>
                      </a:lnTo>
                      <a:lnTo>
                        <a:pt x="222" y="72"/>
                      </a:lnTo>
                      <a:lnTo>
                        <a:pt x="204" y="62"/>
                      </a:lnTo>
                      <a:lnTo>
                        <a:pt x="188" y="52"/>
                      </a:lnTo>
                      <a:lnTo>
                        <a:pt x="173" y="41"/>
                      </a:lnTo>
                      <a:lnTo>
                        <a:pt x="147" y="34"/>
                      </a:lnTo>
                      <a:lnTo>
                        <a:pt x="124" y="36"/>
                      </a:lnTo>
                      <a:lnTo>
                        <a:pt x="106" y="44"/>
                      </a:lnTo>
                      <a:lnTo>
                        <a:pt x="93" y="70"/>
                      </a:lnTo>
                      <a:lnTo>
                        <a:pt x="80" y="93"/>
                      </a:lnTo>
                      <a:lnTo>
                        <a:pt x="65" y="83"/>
                      </a:lnTo>
                      <a:lnTo>
                        <a:pt x="59" y="67"/>
                      </a:lnTo>
                      <a:lnTo>
                        <a:pt x="52" y="52"/>
                      </a:lnTo>
                      <a:lnTo>
                        <a:pt x="49" y="44"/>
                      </a:lnTo>
                      <a:lnTo>
                        <a:pt x="39" y="49"/>
                      </a:lnTo>
                      <a:lnTo>
                        <a:pt x="29" y="54"/>
                      </a:lnTo>
                      <a:lnTo>
                        <a:pt x="26" y="72"/>
                      </a:lnTo>
                      <a:lnTo>
                        <a:pt x="34" y="85"/>
                      </a:lnTo>
                      <a:lnTo>
                        <a:pt x="39" y="103"/>
                      </a:lnTo>
                      <a:lnTo>
                        <a:pt x="36" y="121"/>
                      </a:lnTo>
                      <a:lnTo>
                        <a:pt x="34" y="142"/>
                      </a:lnTo>
                      <a:lnTo>
                        <a:pt x="18" y="157"/>
                      </a:lnTo>
                      <a:lnTo>
                        <a:pt x="0" y="168"/>
                      </a:lnTo>
                      <a:lnTo>
                        <a:pt x="3" y="175"/>
                      </a:lnTo>
                      <a:lnTo>
                        <a:pt x="23" y="191"/>
                      </a:lnTo>
                      <a:lnTo>
                        <a:pt x="31" y="206"/>
                      </a:lnTo>
                      <a:lnTo>
                        <a:pt x="52" y="224"/>
                      </a:lnTo>
                      <a:lnTo>
                        <a:pt x="80" y="265"/>
                      </a:lnTo>
                      <a:lnTo>
                        <a:pt x="88" y="281"/>
                      </a:lnTo>
                      <a:lnTo>
                        <a:pt x="108" y="299"/>
                      </a:lnTo>
                      <a:lnTo>
                        <a:pt x="119" y="322"/>
                      </a:lnTo>
                      <a:lnTo>
                        <a:pt x="139" y="320"/>
                      </a:lnTo>
                      <a:lnTo>
                        <a:pt x="157" y="304"/>
                      </a:lnTo>
                      <a:lnTo>
                        <a:pt x="178" y="301"/>
                      </a:lnTo>
                      <a:lnTo>
                        <a:pt x="196" y="312"/>
                      </a:lnTo>
                      <a:lnTo>
                        <a:pt x="211" y="322"/>
                      </a:lnTo>
                      <a:lnTo>
                        <a:pt x="227" y="332"/>
                      </a:lnTo>
                      <a:lnTo>
                        <a:pt x="253" y="340"/>
                      </a:lnTo>
                      <a:lnTo>
                        <a:pt x="260" y="353"/>
                      </a:lnTo>
                      <a:lnTo>
                        <a:pt x="245" y="371"/>
                      </a:lnTo>
                      <a:lnTo>
                        <a:pt x="227" y="379"/>
                      </a:lnTo>
                      <a:lnTo>
                        <a:pt x="211" y="394"/>
                      </a:lnTo>
                      <a:lnTo>
                        <a:pt x="217" y="410"/>
                      </a:lnTo>
                      <a:lnTo>
                        <a:pt x="237" y="402"/>
                      </a:lnTo>
                      <a:lnTo>
                        <a:pt x="255" y="394"/>
                      </a:lnTo>
                      <a:lnTo>
                        <a:pt x="273" y="384"/>
                      </a:lnTo>
                      <a:lnTo>
                        <a:pt x="296" y="381"/>
                      </a:lnTo>
                      <a:lnTo>
                        <a:pt x="317" y="381"/>
                      </a:lnTo>
                      <a:lnTo>
                        <a:pt x="335" y="363"/>
                      </a:lnTo>
                      <a:lnTo>
                        <a:pt x="358" y="371"/>
                      </a:lnTo>
                      <a:lnTo>
                        <a:pt x="384" y="394"/>
                      </a:lnTo>
                      <a:lnTo>
                        <a:pt x="402" y="415"/>
                      </a:lnTo>
                      <a:lnTo>
                        <a:pt x="423" y="430"/>
                      </a:lnTo>
                      <a:lnTo>
                        <a:pt x="433" y="456"/>
                      </a:lnTo>
                      <a:lnTo>
                        <a:pt x="453" y="471"/>
                      </a:lnTo>
                      <a:lnTo>
                        <a:pt x="435" y="489"/>
                      </a:lnTo>
                      <a:lnTo>
                        <a:pt x="448" y="507"/>
                      </a:lnTo>
                      <a:lnTo>
                        <a:pt x="441" y="520"/>
                      </a:lnTo>
                      <a:lnTo>
                        <a:pt x="461" y="531"/>
                      </a:lnTo>
                      <a:lnTo>
                        <a:pt x="482" y="541"/>
                      </a:lnTo>
                      <a:lnTo>
                        <a:pt x="497" y="536"/>
                      </a:lnTo>
                      <a:lnTo>
                        <a:pt x="525" y="551"/>
                      </a:lnTo>
                      <a:lnTo>
                        <a:pt x="549" y="559"/>
                      </a:lnTo>
                      <a:lnTo>
                        <a:pt x="562" y="569"/>
                      </a:lnTo>
                      <a:lnTo>
                        <a:pt x="562" y="585"/>
                      </a:lnTo>
                      <a:lnTo>
                        <a:pt x="585" y="590"/>
                      </a:lnTo>
                      <a:lnTo>
                        <a:pt x="610" y="590"/>
                      </a:lnTo>
                      <a:lnTo>
                        <a:pt x="641" y="577"/>
                      </a:lnTo>
                      <a:lnTo>
                        <a:pt x="641" y="567"/>
                      </a:lnTo>
                      <a:lnTo>
                        <a:pt x="667" y="567"/>
                      </a:lnTo>
                      <a:lnTo>
                        <a:pt x="670" y="556"/>
                      </a:lnTo>
                      <a:lnTo>
                        <a:pt x="675" y="546"/>
                      </a:lnTo>
                      <a:lnTo>
                        <a:pt x="677" y="528"/>
                      </a:lnTo>
                      <a:lnTo>
                        <a:pt x="693" y="513"/>
                      </a:lnTo>
                      <a:lnTo>
                        <a:pt x="711" y="502"/>
                      </a:lnTo>
                      <a:lnTo>
                        <a:pt x="703" y="489"/>
                      </a:lnTo>
                      <a:lnTo>
                        <a:pt x="688" y="477"/>
                      </a:lnTo>
                      <a:lnTo>
                        <a:pt x="672" y="466"/>
                      </a:lnTo>
                      <a:lnTo>
                        <a:pt x="662" y="446"/>
                      </a:lnTo>
                      <a:lnTo>
                        <a:pt x="659" y="438"/>
                      </a:lnTo>
                      <a:lnTo>
                        <a:pt x="639" y="420"/>
                      </a:lnTo>
                      <a:lnTo>
                        <a:pt x="610" y="407"/>
                      </a:lnTo>
                      <a:lnTo>
                        <a:pt x="603" y="392"/>
                      </a:lnTo>
                      <a:lnTo>
                        <a:pt x="580" y="366"/>
                      </a:lnTo>
                      <a:lnTo>
                        <a:pt x="564" y="356"/>
                      </a:lnTo>
                      <a:lnTo>
                        <a:pt x="554" y="332"/>
                      </a:lnTo>
                      <a:lnTo>
                        <a:pt x="544" y="309"/>
                      </a:lnTo>
                      <a:lnTo>
                        <a:pt x="528" y="281"/>
                      </a:lnTo>
                      <a:lnTo>
                        <a:pt x="523" y="265"/>
                      </a:lnTo>
                      <a:lnTo>
                        <a:pt x="525" y="245"/>
                      </a:lnTo>
                      <a:lnTo>
                        <a:pt x="541" y="229"/>
                      </a:lnTo>
                      <a:lnTo>
                        <a:pt x="559" y="222"/>
                      </a:lnTo>
                      <a:lnTo>
                        <a:pt x="574" y="204"/>
                      </a:lnTo>
                      <a:lnTo>
                        <a:pt x="577" y="186"/>
                      </a:lnTo>
                      <a:lnTo>
                        <a:pt x="580" y="165"/>
                      </a:lnTo>
                      <a:lnTo>
                        <a:pt x="574" y="160"/>
                      </a:lnTo>
                      <a:lnTo>
                        <a:pt x="549" y="155"/>
                      </a:lnTo>
                      <a:lnTo>
                        <a:pt x="523" y="147"/>
                      </a:lnTo>
                      <a:lnTo>
                        <a:pt x="497" y="142"/>
                      </a:lnTo>
                      <a:lnTo>
                        <a:pt x="479" y="150"/>
                      </a:lnTo>
                      <a:lnTo>
                        <a:pt x="461" y="139"/>
                      </a:lnTo>
                      <a:lnTo>
                        <a:pt x="456" y="124"/>
                      </a:lnTo>
                      <a:lnTo>
                        <a:pt x="459" y="106"/>
                      </a:lnTo>
                      <a:lnTo>
                        <a:pt x="430" y="93"/>
                      </a:lnTo>
                      <a:lnTo>
                        <a:pt x="412" y="83"/>
                      </a:lnTo>
                      <a:lnTo>
                        <a:pt x="399" y="52"/>
                      </a:lnTo>
                      <a:lnTo>
                        <a:pt x="392" y="36"/>
                      </a:lnTo>
                      <a:lnTo>
                        <a:pt x="384" y="23"/>
                      </a:lnTo>
                      <a:lnTo>
                        <a:pt x="379" y="5"/>
                      </a:lnTo>
                      <a:lnTo>
                        <a:pt x="374" y="0"/>
                      </a:lnTo>
                      <a:close/>
                    </a:path>
                  </a:pathLst>
                </a:custGeom>
                <a:solidFill>
                  <a:srgbClr val="005392"/>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24" name="Freeform 8">
                  <a:extLst>
                    <a:ext uri="{FF2B5EF4-FFF2-40B4-BE49-F238E27FC236}">
                      <a16:creationId xmlns:a16="http://schemas.microsoft.com/office/drawing/2014/main" id="{CFF08A30-2F36-002E-4E3F-92C40B4899F0}"/>
                    </a:ext>
                  </a:extLst>
                </p:cNvPr>
                <p:cNvSpPr>
                  <a:spLocks/>
                </p:cNvSpPr>
                <p:nvPr/>
              </p:nvSpPr>
              <p:spPr bwMode="auto">
                <a:xfrm>
                  <a:off x="4244863" y="3182213"/>
                  <a:ext cx="358368" cy="352691"/>
                </a:xfrm>
                <a:custGeom>
                  <a:avLst/>
                  <a:gdLst>
                    <a:gd name="T0" fmla="*/ 2147483646 w 505"/>
                    <a:gd name="T1" fmla="*/ 2147483646 h 497"/>
                    <a:gd name="T2" fmla="*/ 2147483646 w 505"/>
                    <a:gd name="T3" fmla="*/ 2147483646 h 497"/>
                    <a:gd name="T4" fmla="*/ 2147483646 w 505"/>
                    <a:gd name="T5" fmla="*/ 2147483646 h 497"/>
                    <a:gd name="T6" fmla="*/ 2147483646 w 505"/>
                    <a:gd name="T7" fmla="*/ 2147483646 h 497"/>
                    <a:gd name="T8" fmla="*/ 2147483646 w 505"/>
                    <a:gd name="T9" fmla="*/ 2147483646 h 497"/>
                    <a:gd name="T10" fmla="*/ 2147483646 w 505"/>
                    <a:gd name="T11" fmla="*/ 2147483646 h 497"/>
                    <a:gd name="T12" fmla="*/ 2147483646 w 505"/>
                    <a:gd name="T13" fmla="*/ 2147483646 h 497"/>
                    <a:gd name="T14" fmla="*/ 2147483646 w 505"/>
                    <a:gd name="T15" fmla="*/ 2147483646 h 497"/>
                    <a:gd name="T16" fmla="*/ 2147483646 w 505"/>
                    <a:gd name="T17" fmla="*/ 2147483646 h 497"/>
                    <a:gd name="T18" fmla="*/ 2147483646 w 505"/>
                    <a:gd name="T19" fmla="*/ 2147483646 h 497"/>
                    <a:gd name="T20" fmla="*/ 2147483646 w 505"/>
                    <a:gd name="T21" fmla="*/ 2147483646 h 497"/>
                    <a:gd name="T22" fmla="*/ 2147483646 w 505"/>
                    <a:gd name="T23" fmla="*/ 2147483646 h 497"/>
                    <a:gd name="T24" fmla="*/ 2147483646 w 505"/>
                    <a:gd name="T25" fmla="*/ 2147483646 h 497"/>
                    <a:gd name="T26" fmla="*/ 2147483646 w 505"/>
                    <a:gd name="T27" fmla="*/ 2147483646 h 497"/>
                    <a:gd name="T28" fmla="*/ 2147483646 w 505"/>
                    <a:gd name="T29" fmla="*/ 2147483646 h 497"/>
                    <a:gd name="T30" fmla="*/ 2147483646 w 505"/>
                    <a:gd name="T31" fmla="*/ 2147483646 h 497"/>
                    <a:gd name="T32" fmla="*/ 2147483646 w 505"/>
                    <a:gd name="T33" fmla="*/ 2147483646 h 497"/>
                    <a:gd name="T34" fmla="*/ 2147483646 w 505"/>
                    <a:gd name="T35" fmla="*/ 2147483646 h 497"/>
                    <a:gd name="T36" fmla="*/ 2147483646 w 505"/>
                    <a:gd name="T37" fmla="*/ 2147483646 h 497"/>
                    <a:gd name="T38" fmla="*/ 2147483646 w 505"/>
                    <a:gd name="T39" fmla="*/ 2147483646 h 497"/>
                    <a:gd name="T40" fmla="*/ 2147483646 w 505"/>
                    <a:gd name="T41" fmla="*/ 2147483646 h 497"/>
                    <a:gd name="T42" fmla="*/ 2147483646 w 505"/>
                    <a:gd name="T43" fmla="*/ 2147483646 h 497"/>
                    <a:gd name="T44" fmla="*/ 2147483646 w 505"/>
                    <a:gd name="T45" fmla="*/ 2147483646 h 497"/>
                    <a:gd name="T46" fmla="*/ 2147483646 w 505"/>
                    <a:gd name="T47" fmla="*/ 2147483646 h 497"/>
                    <a:gd name="T48" fmla="*/ 2147483646 w 505"/>
                    <a:gd name="T49" fmla="*/ 2147483646 h 497"/>
                    <a:gd name="T50" fmla="*/ 2147483646 w 505"/>
                    <a:gd name="T51" fmla="*/ 2147483646 h 497"/>
                    <a:gd name="T52" fmla="*/ 2147483646 w 505"/>
                    <a:gd name="T53" fmla="*/ 2147483646 h 497"/>
                    <a:gd name="T54" fmla="*/ 2147483646 w 505"/>
                    <a:gd name="T55" fmla="*/ 2147483646 h 497"/>
                    <a:gd name="T56" fmla="*/ 2147483646 w 505"/>
                    <a:gd name="T57" fmla="*/ 2147483646 h 497"/>
                    <a:gd name="T58" fmla="*/ 2147483646 w 505"/>
                    <a:gd name="T59" fmla="*/ 2147483646 h 497"/>
                    <a:gd name="T60" fmla="*/ 2147483646 w 505"/>
                    <a:gd name="T61" fmla="*/ 2147483646 h 497"/>
                    <a:gd name="T62" fmla="*/ 2147483646 w 505"/>
                    <a:gd name="T63" fmla="*/ 2147483646 h 497"/>
                    <a:gd name="T64" fmla="*/ 2147483646 w 505"/>
                    <a:gd name="T65" fmla="*/ 2147483646 h 497"/>
                    <a:gd name="T66" fmla="*/ 2147483646 w 505"/>
                    <a:gd name="T67" fmla="*/ 2147483646 h 497"/>
                    <a:gd name="T68" fmla="*/ 2147483646 w 505"/>
                    <a:gd name="T69" fmla="*/ 2147483646 h 497"/>
                    <a:gd name="T70" fmla="*/ 2147483646 w 505"/>
                    <a:gd name="T71" fmla="*/ 2147483646 h 497"/>
                    <a:gd name="T72" fmla="*/ 2147483646 w 505"/>
                    <a:gd name="T73" fmla="*/ 2147483646 h 497"/>
                    <a:gd name="T74" fmla="*/ 2147483646 w 505"/>
                    <a:gd name="T75" fmla="*/ 2147483646 h 497"/>
                    <a:gd name="T76" fmla="*/ 2147483646 w 505"/>
                    <a:gd name="T77" fmla="*/ 2147483646 h 497"/>
                    <a:gd name="T78" fmla="*/ 2147483646 w 505"/>
                    <a:gd name="T79" fmla="*/ 2147483646 h 497"/>
                    <a:gd name="T80" fmla="*/ 2147483646 w 505"/>
                    <a:gd name="T81" fmla="*/ 2147483646 h 497"/>
                    <a:gd name="T82" fmla="*/ 2147483646 w 505"/>
                    <a:gd name="T83" fmla="*/ 2147483646 h 497"/>
                    <a:gd name="T84" fmla="*/ 2147483646 w 505"/>
                    <a:gd name="T85" fmla="*/ 2147483646 h 49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497">
                      <a:moveTo>
                        <a:pt x="57" y="41"/>
                      </a:moveTo>
                      <a:lnTo>
                        <a:pt x="54" y="62"/>
                      </a:lnTo>
                      <a:lnTo>
                        <a:pt x="51" y="80"/>
                      </a:lnTo>
                      <a:lnTo>
                        <a:pt x="36" y="98"/>
                      </a:lnTo>
                      <a:lnTo>
                        <a:pt x="18" y="105"/>
                      </a:lnTo>
                      <a:lnTo>
                        <a:pt x="2" y="121"/>
                      </a:lnTo>
                      <a:lnTo>
                        <a:pt x="0" y="141"/>
                      </a:lnTo>
                      <a:lnTo>
                        <a:pt x="5" y="157"/>
                      </a:lnTo>
                      <a:lnTo>
                        <a:pt x="21" y="185"/>
                      </a:lnTo>
                      <a:lnTo>
                        <a:pt x="31" y="208"/>
                      </a:lnTo>
                      <a:lnTo>
                        <a:pt x="41" y="232"/>
                      </a:lnTo>
                      <a:lnTo>
                        <a:pt x="57" y="242"/>
                      </a:lnTo>
                      <a:lnTo>
                        <a:pt x="80" y="268"/>
                      </a:lnTo>
                      <a:lnTo>
                        <a:pt x="87" y="283"/>
                      </a:lnTo>
                      <a:lnTo>
                        <a:pt x="116" y="296"/>
                      </a:lnTo>
                      <a:lnTo>
                        <a:pt x="136" y="314"/>
                      </a:lnTo>
                      <a:lnTo>
                        <a:pt x="139" y="322"/>
                      </a:lnTo>
                      <a:lnTo>
                        <a:pt x="149" y="342"/>
                      </a:lnTo>
                      <a:lnTo>
                        <a:pt x="165" y="353"/>
                      </a:lnTo>
                      <a:lnTo>
                        <a:pt x="180" y="365"/>
                      </a:lnTo>
                      <a:lnTo>
                        <a:pt x="188" y="378"/>
                      </a:lnTo>
                      <a:lnTo>
                        <a:pt x="170" y="389"/>
                      </a:lnTo>
                      <a:lnTo>
                        <a:pt x="154" y="404"/>
                      </a:lnTo>
                      <a:lnTo>
                        <a:pt x="147" y="430"/>
                      </a:lnTo>
                      <a:lnTo>
                        <a:pt x="147" y="443"/>
                      </a:lnTo>
                      <a:lnTo>
                        <a:pt x="157" y="453"/>
                      </a:lnTo>
                      <a:lnTo>
                        <a:pt x="183" y="471"/>
                      </a:lnTo>
                      <a:lnTo>
                        <a:pt x="193" y="486"/>
                      </a:lnTo>
                      <a:lnTo>
                        <a:pt x="193" y="489"/>
                      </a:lnTo>
                      <a:lnTo>
                        <a:pt x="237" y="466"/>
                      </a:lnTo>
                      <a:lnTo>
                        <a:pt x="265" y="474"/>
                      </a:lnTo>
                      <a:lnTo>
                        <a:pt x="273" y="486"/>
                      </a:lnTo>
                      <a:lnTo>
                        <a:pt x="288" y="497"/>
                      </a:lnTo>
                      <a:lnTo>
                        <a:pt x="306" y="489"/>
                      </a:lnTo>
                      <a:lnTo>
                        <a:pt x="329" y="486"/>
                      </a:lnTo>
                      <a:lnTo>
                        <a:pt x="342" y="489"/>
                      </a:lnTo>
                      <a:lnTo>
                        <a:pt x="360" y="481"/>
                      </a:lnTo>
                      <a:lnTo>
                        <a:pt x="381" y="474"/>
                      </a:lnTo>
                      <a:lnTo>
                        <a:pt x="399" y="463"/>
                      </a:lnTo>
                      <a:lnTo>
                        <a:pt x="402" y="443"/>
                      </a:lnTo>
                      <a:lnTo>
                        <a:pt x="394" y="427"/>
                      </a:lnTo>
                      <a:lnTo>
                        <a:pt x="399" y="409"/>
                      </a:lnTo>
                      <a:lnTo>
                        <a:pt x="399" y="389"/>
                      </a:lnTo>
                      <a:lnTo>
                        <a:pt x="420" y="381"/>
                      </a:lnTo>
                      <a:lnTo>
                        <a:pt x="438" y="371"/>
                      </a:lnTo>
                      <a:lnTo>
                        <a:pt x="458" y="363"/>
                      </a:lnTo>
                      <a:lnTo>
                        <a:pt x="463" y="350"/>
                      </a:lnTo>
                      <a:lnTo>
                        <a:pt x="476" y="327"/>
                      </a:lnTo>
                      <a:lnTo>
                        <a:pt x="479" y="309"/>
                      </a:lnTo>
                      <a:lnTo>
                        <a:pt x="487" y="275"/>
                      </a:lnTo>
                      <a:lnTo>
                        <a:pt x="499" y="252"/>
                      </a:lnTo>
                      <a:lnTo>
                        <a:pt x="505" y="239"/>
                      </a:lnTo>
                      <a:lnTo>
                        <a:pt x="502" y="234"/>
                      </a:lnTo>
                      <a:lnTo>
                        <a:pt x="479" y="226"/>
                      </a:lnTo>
                      <a:lnTo>
                        <a:pt x="456" y="229"/>
                      </a:lnTo>
                      <a:lnTo>
                        <a:pt x="448" y="214"/>
                      </a:lnTo>
                      <a:lnTo>
                        <a:pt x="440" y="198"/>
                      </a:lnTo>
                      <a:lnTo>
                        <a:pt x="435" y="183"/>
                      </a:lnTo>
                      <a:lnTo>
                        <a:pt x="438" y="165"/>
                      </a:lnTo>
                      <a:lnTo>
                        <a:pt x="430" y="149"/>
                      </a:lnTo>
                      <a:lnTo>
                        <a:pt x="420" y="126"/>
                      </a:lnTo>
                      <a:lnTo>
                        <a:pt x="402" y="116"/>
                      </a:lnTo>
                      <a:lnTo>
                        <a:pt x="381" y="118"/>
                      </a:lnTo>
                      <a:lnTo>
                        <a:pt x="363" y="126"/>
                      </a:lnTo>
                      <a:lnTo>
                        <a:pt x="340" y="129"/>
                      </a:lnTo>
                      <a:lnTo>
                        <a:pt x="317" y="129"/>
                      </a:lnTo>
                      <a:lnTo>
                        <a:pt x="301" y="118"/>
                      </a:lnTo>
                      <a:lnTo>
                        <a:pt x="293" y="105"/>
                      </a:lnTo>
                      <a:lnTo>
                        <a:pt x="273" y="85"/>
                      </a:lnTo>
                      <a:lnTo>
                        <a:pt x="265" y="72"/>
                      </a:lnTo>
                      <a:lnTo>
                        <a:pt x="247" y="80"/>
                      </a:lnTo>
                      <a:lnTo>
                        <a:pt x="221" y="74"/>
                      </a:lnTo>
                      <a:lnTo>
                        <a:pt x="214" y="56"/>
                      </a:lnTo>
                      <a:lnTo>
                        <a:pt x="196" y="41"/>
                      </a:lnTo>
                      <a:lnTo>
                        <a:pt x="188" y="26"/>
                      </a:lnTo>
                      <a:lnTo>
                        <a:pt x="180" y="13"/>
                      </a:lnTo>
                      <a:lnTo>
                        <a:pt x="165" y="0"/>
                      </a:lnTo>
                      <a:lnTo>
                        <a:pt x="142" y="2"/>
                      </a:lnTo>
                      <a:lnTo>
                        <a:pt x="124" y="13"/>
                      </a:lnTo>
                      <a:lnTo>
                        <a:pt x="100" y="13"/>
                      </a:lnTo>
                      <a:lnTo>
                        <a:pt x="77" y="13"/>
                      </a:lnTo>
                      <a:lnTo>
                        <a:pt x="59" y="23"/>
                      </a:lnTo>
                      <a:lnTo>
                        <a:pt x="62" y="31"/>
                      </a:lnTo>
                      <a:lnTo>
                        <a:pt x="57" y="41"/>
                      </a:lnTo>
                      <a:close/>
                    </a:path>
                  </a:pathLst>
                </a:custGeom>
                <a:solidFill>
                  <a:schemeClr val="accent2"/>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25" name="Freeform 9">
                  <a:extLst>
                    <a:ext uri="{FF2B5EF4-FFF2-40B4-BE49-F238E27FC236}">
                      <a16:creationId xmlns:a16="http://schemas.microsoft.com/office/drawing/2014/main" id="{7B418691-F39D-3B2F-1377-2E23ACB6DBF8}"/>
                    </a:ext>
                  </a:extLst>
                </p:cNvPr>
                <p:cNvSpPr>
                  <a:spLocks/>
                </p:cNvSpPr>
                <p:nvPr/>
              </p:nvSpPr>
              <p:spPr bwMode="auto">
                <a:xfrm>
                  <a:off x="4381824" y="3430587"/>
                  <a:ext cx="369012" cy="699705"/>
                </a:xfrm>
                <a:custGeom>
                  <a:avLst/>
                  <a:gdLst>
                    <a:gd name="T0" fmla="*/ 2147483646 w 520"/>
                    <a:gd name="T1" fmla="*/ 2147483646 h 986"/>
                    <a:gd name="T2" fmla="*/ 2147483646 w 520"/>
                    <a:gd name="T3" fmla="*/ 2147483646 h 986"/>
                    <a:gd name="T4" fmla="*/ 2147483646 w 520"/>
                    <a:gd name="T5" fmla="*/ 2147483646 h 986"/>
                    <a:gd name="T6" fmla="*/ 2147483646 w 520"/>
                    <a:gd name="T7" fmla="*/ 2147483646 h 986"/>
                    <a:gd name="T8" fmla="*/ 2147483646 w 520"/>
                    <a:gd name="T9" fmla="*/ 2147483646 h 986"/>
                    <a:gd name="T10" fmla="*/ 2147483646 w 520"/>
                    <a:gd name="T11" fmla="*/ 2147483646 h 986"/>
                    <a:gd name="T12" fmla="*/ 2147483646 w 520"/>
                    <a:gd name="T13" fmla="*/ 2147483646 h 986"/>
                    <a:gd name="T14" fmla="*/ 2147483646 w 520"/>
                    <a:gd name="T15" fmla="*/ 2147483646 h 986"/>
                    <a:gd name="T16" fmla="*/ 2147483646 w 520"/>
                    <a:gd name="T17" fmla="*/ 2147483646 h 986"/>
                    <a:gd name="T18" fmla="*/ 2147483646 w 520"/>
                    <a:gd name="T19" fmla="*/ 2147483646 h 986"/>
                    <a:gd name="T20" fmla="*/ 2147483646 w 520"/>
                    <a:gd name="T21" fmla="*/ 2147483646 h 986"/>
                    <a:gd name="T22" fmla="*/ 2147483646 w 520"/>
                    <a:gd name="T23" fmla="*/ 2147483646 h 986"/>
                    <a:gd name="T24" fmla="*/ 2147483646 w 520"/>
                    <a:gd name="T25" fmla="*/ 2147483646 h 986"/>
                    <a:gd name="T26" fmla="*/ 2147483646 w 520"/>
                    <a:gd name="T27" fmla="*/ 2147483646 h 986"/>
                    <a:gd name="T28" fmla="*/ 2147483646 w 520"/>
                    <a:gd name="T29" fmla="*/ 2147483646 h 986"/>
                    <a:gd name="T30" fmla="*/ 2147483646 w 520"/>
                    <a:gd name="T31" fmla="*/ 2147483646 h 986"/>
                    <a:gd name="T32" fmla="*/ 2147483646 w 520"/>
                    <a:gd name="T33" fmla="*/ 2147483646 h 986"/>
                    <a:gd name="T34" fmla="*/ 2147483646 w 520"/>
                    <a:gd name="T35" fmla="*/ 2147483646 h 986"/>
                    <a:gd name="T36" fmla="*/ 2147483646 w 520"/>
                    <a:gd name="T37" fmla="*/ 2147483646 h 986"/>
                    <a:gd name="T38" fmla="*/ 2147483646 w 520"/>
                    <a:gd name="T39" fmla="*/ 2147483646 h 986"/>
                    <a:gd name="T40" fmla="*/ 2147483646 w 520"/>
                    <a:gd name="T41" fmla="*/ 2147483646 h 986"/>
                    <a:gd name="T42" fmla="*/ 2147483646 w 520"/>
                    <a:gd name="T43" fmla="*/ 2147483646 h 986"/>
                    <a:gd name="T44" fmla="*/ 2147483646 w 520"/>
                    <a:gd name="T45" fmla="*/ 2147483646 h 986"/>
                    <a:gd name="T46" fmla="*/ 2147483646 w 520"/>
                    <a:gd name="T47" fmla="*/ 2147483646 h 986"/>
                    <a:gd name="T48" fmla="*/ 2147483646 w 520"/>
                    <a:gd name="T49" fmla="*/ 2147483646 h 986"/>
                    <a:gd name="T50" fmla="*/ 2147483646 w 520"/>
                    <a:gd name="T51" fmla="*/ 2147483646 h 986"/>
                    <a:gd name="T52" fmla="*/ 2147483646 w 520"/>
                    <a:gd name="T53" fmla="*/ 2147483646 h 986"/>
                    <a:gd name="T54" fmla="*/ 2147483646 w 520"/>
                    <a:gd name="T55" fmla="*/ 2147483646 h 986"/>
                    <a:gd name="T56" fmla="*/ 2147483646 w 520"/>
                    <a:gd name="T57" fmla="*/ 2147483646 h 986"/>
                    <a:gd name="T58" fmla="*/ 2147483646 w 520"/>
                    <a:gd name="T59" fmla="*/ 2147483646 h 986"/>
                    <a:gd name="T60" fmla="*/ 2147483646 w 520"/>
                    <a:gd name="T61" fmla="*/ 2147483646 h 986"/>
                    <a:gd name="T62" fmla="*/ 2147483646 w 520"/>
                    <a:gd name="T63" fmla="*/ 2147483646 h 986"/>
                    <a:gd name="T64" fmla="*/ 2147483646 w 520"/>
                    <a:gd name="T65" fmla="*/ 2147483646 h 986"/>
                    <a:gd name="T66" fmla="*/ 2147483646 w 520"/>
                    <a:gd name="T67" fmla="*/ 2147483646 h 986"/>
                    <a:gd name="T68" fmla="*/ 2147483646 w 520"/>
                    <a:gd name="T69" fmla="*/ 2147483646 h 986"/>
                    <a:gd name="T70" fmla="*/ 2147483646 w 520"/>
                    <a:gd name="T71" fmla="*/ 2147483646 h 986"/>
                    <a:gd name="T72" fmla="*/ 2147483646 w 520"/>
                    <a:gd name="T73" fmla="*/ 2147483646 h 986"/>
                    <a:gd name="T74" fmla="*/ 2147483646 w 520"/>
                    <a:gd name="T75" fmla="*/ 2147483646 h 986"/>
                    <a:gd name="T76" fmla="*/ 2147483646 w 520"/>
                    <a:gd name="T77" fmla="*/ 2147483646 h 986"/>
                    <a:gd name="T78" fmla="*/ 2147483646 w 520"/>
                    <a:gd name="T79" fmla="*/ 2147483646 h 986"/>
                    <a:gd name="T80" fmla="*/ 2147483646 w 520"/>
                    <a:gd name="T81" fmla="*/ 2147483646 h 986"/>
                    <a:gd name="T82" fmla="*/ 2147483646 w 520"/>
                    <a:gd name="T83" fmla="*/ 2147483646 h 986"/>
                    <a:gd name="T84" fmla="*/ 2147483646 w 520"/>
                    <a:gd name="T85" fmla="*/ 2147483646 h 986"/>
                    <a:gd name="T86" fmla="*/ 2147483646 w 520"/>
                    <a:gd name="T87" fmla="*/ 2147483646 h 98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20" h="986">
                      <a:moveTo>
                        <a:pt x="0" y="139"/>
                      </a:moveTo>
                      <a:lnTo>
                        <a:pt x="26" y="126"/>
                      </a:lnTo>
                      <a:lnTo>
                        <a:pt x="44" y="116"/>
                      </a:lnTo>
                      <a:lnTo>
                        <a:pt x="72" y="121"/>
                      </a:lnTo>
                      <a:lnTo>
                        <a:pt x="80" y="134"/>
                      </a:lnTo>
                      <a:lnTo>
                        <a:pt x="95" y="147"/>
                      </a:lnTo>
                      <a:lnTo>
                        <a:pt x="113" y="136"/>
                      </a:lnTo>
                      <a:lnTo>
                        <a:pt x="136" y="136"/>
                      </a:lnTo>
                      <a:lnTo>
                        <a:pt x="149" y="139"/>
                      </a:lnTo>
                      <a:lnTo>
                        <a:pt x="167" y="129"/>
                      </a:lnTo>
                      <a:lnTo>
                        <a:pt x="188" y="121"/>
                      </a:lnTo>
                      <a:lnTo>
                        <a:pt x="206" y="113"/>
                      </a:lnTo>
                      <a:lnTo>
                        <a:pt x="209" y="93"/>
                      </a:lnTo>
                      <a:lnTo>
                        <a:pt x="201" y="77"/>
                      </a:lnTo>
                      <a:lnTo>
                        <a:pt x="206" y="59"/>
                      </a:lnTo>
                      <a:lnTo>
                        <a:pt x="206" y="39"/>
                      </a:lnTo>
                      <a:lnTo>
                        <a:pt x="227" y="31"/>
                      </a:lnTo>
                      <a:lnTo>
                        <a:pt x="245" y="21"/>
                      </a:lnTo>
                      <a:lnTo>
                        <a:pt x="265" y="13"/>
                      </a:lnTo>
                      <a:lnTo>
                        <a:pt x="270" y="0"/>
                      </a:lnTo>
                      <a:lnTo>
                        <a:pt x="273" y="10"/>
                      </a:lnTo>
                      <a:lnTo>
                        <a:pt x="276" y="15"/>
                      </a:lnTo>
                      <a:lnTo>
                        <a:pt x="270" y="28"/>
                      </a:lnTo>
                      <a:lnTo>
                        <a:pt x="263" y="39"/>
                      </a:lnTo>
                      <a:lnTo>
                        <a:pt x="252" y="64"/>
                      </a:lnTo>
                      <a:lnTo>
                        <a:pt x="258" y="77"/>
                      </a:lnTo>
                      <a:lnTo>
                        <a:pt x="265" y="93"/>
                      </a:lnTo>
                      <a:lnTo>
                        <a:pt x="263" y="113"/>
                      </a:lnTo>
                      <a:lnTo>
                        <a:pt x="247" y="129"/>
                      </a:lnTo>
                      <a:lnTo>
                        <a:pt x="234" y="154"/>
                      </a:lnTo>
                      <a:lnTo>
                        <a:pt x="232" y="175"/>
                      </a:lnTo>
                      <a:lnTo>
                        <a:pt x="242" y="196"/>
                      </a:lnTo>
                      <a:lnTo>
                        <a:pt x="265" y="221"/>
                      </a:lnTo>
                      <a:lnTo>
                        <a:pt x="291" y="227"/>
                      </a:lnTo>
                      <a:lnTo>
                        <a:pt x="314" y="224"/>
                      </a:lnTo>
                      <a:lnTo>
                        <a:pt x="337" y="224"/>
                      </a:lnTo>
                      <a:lnTo>
                        <a:pt x="366" y="237"/>
                      </a:lnTo>
                      <a:lnTo>
                        <a:pt x="384" y="247"/>
                      </a:lnTo>
                      <a:lnTo>
                        <a:pt x="409" y="252"/>
                      </a:lnTo>
                      <a:lnTo>
                        <a:pt x="425" y="265"/>
                      </a:lnTo>
                      <a:lnTo>
                        <a:pt x="433" y="278"/>
                      </a:lnTo>
                      <a:lnTo>
                        <a:pt x="448" y="291"/>
                      </a:lnTo>
                      <a:lnTo>
                        <a:pt x="466" y="301"/>
                      </a:lnTo>
                      <a:lnTo>
                        <a:pt x="482" y="311"/>
                      </a:lnTo>
                      <a:lnTo>
                        <a:pt x="479" y="330"/>
                      </a:lnTo>
                      <a:lnTo>
                        <a:pt x="476" y="350"/>
                      </a:lnTo>
                      <a:lnTo>
                        <a:pt x="482" y="363"/>
                      </a:lnTo>
                      <a:lnTo>
                        <a:pt x="479" y="384"/>
                      </a:lnTo>
                      <a:lnTo>
                        <a:pt x="482" y="412"/>
                      </a:lnTo>
                      <a:lnTo>
                        <a:pt x="497" y="422"/>
                      </a:lnTo>
                      <a:lnTo>
                        <a:pt x="515" y="432"/>
                      </a:lnTo>
                      <a:lnTo>
                        <a:pt x="520" y="445"/>
                      </a:lnTo>
                      <a:lnTo>
                        <a:pt x="518" y="466"/>
                      </a:lnTo>
                      <a:lnTo>
                        <a:pt x="510" y="497"/>
                      </a:lnTo>
                      <a:lnTo>
                        <a:pt x="492" y="505"/>
                      </a:lnTo>
                      <a:lnTo>
                        <a:pt x="474" y="497"/>
                      </a:lnTo>
                      <a:lnTo>
                        <a:pt x="451" y="497"/>
                      </a:lnTo>
                      <a:lnTo>
                        <a:pt x="427" y="499"/>
                      </a:lnTo>
                      <a:lnTo>
                        <a:pt x="409" y="507"/>
                      </a:lnTo>
                      <a:lnTo>
                        <a:pt x="391" y="517"/>
                      </a:lnTo>
                      <a:lnTo>
                        <a:pt x="371" y="525"/>
                      </a:lnTo>
                      <a:lnTo>
                        <a:pt x="361" y="551"/>
                      </a:lnTo>
                      <a:lnTo>
                        <a:pt x="337" y="577"/>
                      </a:lnTo>
                      <a:lnTo>
                        <a:pt x="324" y="600"/>
                      </a:lnTo>
                      <a:lnTo>
                        <a:pt x="324" y="620"/>
                      </a:lnTo>
                      <a:lnTo>
                        <a:pt x="335" y="644"/>
                      </a:lnTo>
                      <a:lnTo>
                        <a:pt x="345" y="664"/>
                      </a:lnTo>
                      <a:lnTo>
                        <a:pt x="355" y="687"/>
                      </a:lnTo>
                      <a:lnTo>
                        <a:pt x="353" y="708"/>
                      </a:lnTo>
                      <a:lnTo>
                        <a:pt x="350" y="726"/>
                      </a:lnTo>
                      <a:lnTo>
                        <a:pt x="337" y="752"/>
                      </a:lnTo>
                      <a:lnTo>
                        <a:pt x="317" y="759"/>
                      </a:lnTo>
                      <a:lnTo>
                        <a:pt x="301" y="777"/>
                      </a:lnTo>
                      <a:lnTo>
                        <a:pt x="283" y="785"/>
                      </a:lnTo>
                      <a:lnTo>
                        <a:pt x="268" y="803"/>
                      </a:lnTo>
                      <a:lnTo>
                        <a:pt x="255" y="826"/>
                      </a:lnTo>
                      <a:lnTo>
                        <a:pt x="252" y="844"/>
                      </a:lnTo>
                      <a:lnTo>
                        <a:pt x="245" y="878"/>
                      </a:lnTo>
                      <a:lnTo>
                        <a:pt x="242" y="896"/>
                      </a:lnTo>
                      <a:lnTo>
                        <a:pt x="242" y="922"/>
                      </a:lnTo>
                      <a:lnTo>
                        <a:pt x="239" y="942"/>
                      </a:lnTo>
                      <a:lnTo>
                        <a:pt x="229" y="965"/>
                      </a:lnTo>
                      <a:lnTo>
                        <a:pt x="209" y="976"/>
                      </a:lnTo>
                      <a:lnTo>
                        <a:pt x="185" y="976"/>
                      </a:lnTo>
                      <a:lnTo>
                        <a:pt x="160" y="971"/>
                      </a:lnTo>
                      <a:lnTo>
                        <a:pt x="131" y="986"/>
                      </a:lnTo>
                      <a:lnTo>
                        <a:pt x="116" y="973"/>
                      </a:lnTo>
                      <a:lnTo>
                        <a:pt x="95" y="955"/>
                      </a:lnTo>
                      <a:lnTo>
                        <a:pt x="90" y="940"/>
                      </a:lnTo>
                      <a:lnTo>
                        <a:pt x="82" y="927"/>
                      </a:lnTo>
                      <a:lnTo>
                        <a:pt x="72" y="904"/>
                      </a:lnTo>
                      <a:lnTo>
                        <a:pt x="75" y="886"/>
                      </a:lnTo>
                      <a:lnTo>
                        <a:pt x="67" y="870"/>
                      </a:lnTo>
                      <a:lnTo>
                        <a:pt x="82" y="852"/>
                      </a:lnTo>
                      <a:lnTo>
                        <a:pt x="98" y="837"/>
                      </a:lnTo>
                      <a:lnTo>
                        <a:pt x="118" y="829"/>
                      </a:lnTo>
                      <a:lnTo>
                        <a:pt x="129" y="803"/>
                      </a:lnTo>
                      <a:lnTo>
                        <a:pt x="142" y="780"/>
                      </a:lnTo>
                      <a:lnTo>
                        <a:pt x="144" y="759"/>
                      </a:lnTo>
                      <a:lnTo>
                        <a:pt x="144" y="734"/>
                      </a:lnTo>
                      <a:lnTo>
                        <a:pt x="136" y="718"/>
                      </a:lnTo>
                      <a:lnTo>
                        <a:pt x="121" y="708"/>
                      </a:lnTo>
                      <a:lnTo>
                        <a:pt x="106" y="698"/>
                      </a:lnTo>
                      <a:lnTo>
                        <a:pt x="98" y="682"/>
                      </a:lnTo>
                      <a:lnTo>
                        <a:pt x="113" y="667"/>
                      </a:lnTo>
                      <a:lnTo>
                        <a:pt x="126" y="649"/>
                      </a:lnTo>
                      <a:lnTo>
                        <a:pt x="147" y="641"/>
                      </a:lnTo>
                      <a:lnTo>
                        <a:pt x="170" y="638"/>
                      </a:lnTo>
                      <a:lnTo>
                        <a:pt x="185" y="623"/>
                      </a:lnTo>
                      <a:lnTo>
                        <a:pt x="201" y="605"/>
                      </a:lnTo>
                      <a:lnTo>
                        <a:pt x="203" y="587"/>
                      </a:lnTo>
                      <a:lnTo>
                        <a:pt x="206" y="566"/>
                      </a:lnTo>
                      <a:lnTo>
                        <a:pt x="209" y="548"/>
                      </a:lnTo>
                      <a:lnTo>
                        <a:pt x="193" y="538"/>
                      </a:lnTo>
                      <a:lnTo>
                        <a:pt x="175" y="528"/>
                      </a:lnTo>
                      <a:lnTo>
                        <a:pt x="170" y="512"/>
                      </a:lnTo>
                      <a:lnTo>
                        <a:pt x="162" y="497"/>
                      </a:lnTo>
                      <a:lnTo>
                        <a:pt x="152" y="474"/>
                      </a:lnTo>
                      <a:lnTo>
                        <a:pt x="142" y="453"/>
                      </a:lnTo>
                      <a:lnTo>
                        <a:pt x="144" y="435"/>
                      </a:lnTo>
                      <a:lnTo>
                        <a:pt x="134" y="409"/>
                      </a:lnTo>
                      <a:lnTo>
                        <a:pt x="121" y="381"/>
                      </a:lnTo>
                      <a:lnTo>
                        <a:pt x="111" y="358"/>
                      </a:lnTo>
                      <a:lnTo>
                        <a:pt x="103" y="342"/>
                      </a:lnTo>
                      <a:lnTo>
                        <a:pt x="82" y="324"/>
                      </a:lnTo>
                      <a:lnTo>
                        <a:pt x="72" y="304"/>
                      </a:lnTo>
                      <a:lnTo>
                        <a:pt x="44" y="263"/>
                      </a:lnTo>
                      <a:lnTo>
                        <a:pt x="31" y="242"/>
                      </a:lnTo>
                      <a:lnTo>
                        <a:pt x="10" y="214"/>
                      </a:lnTo>
                      <a:lnTo>
                        <a:pt x="13" y="196"/>
                      </a:lnTo>
                      <a:lnTo>
                        <a:pt x="3" y="172"/>
                      </a:lnTo>
                      <a:lnTo>
                        <a:pt x="5" y="154"/>
                      </a:lnTo>
                      <a:lnTo>
                        <a:pt x="0" y="139"/>
                      </a:lnTo>
                      <a:close/>
                    </a:path>
                  </a:pathLst>
                </a:custGeom>
                <a:solidFill>
                  <a:srgbClr val="5F85B1"/>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26" name="Freeform 12">
                  <a:extLst>
                    <a:ext uri="{FF2B5EF4-FFF2-40B4-BE49-F238E27FC236}">
                      <a16:creationId xmlns:a16="http://schemas.microsoft.com/office/drawing/2014/main" id="{469B6B4C-D460-8E97-CD7A-775DC6094AF1}"/>
                    </a:ext>
                  </a:extLst>
                </p:cNvPr>
                <p:cNvSpPr>
                  <a:spLocks/>
                </p:cNvSpPr>
                <p:nvPr/>
              </p:nvSpPr>
              <p:spPr bwMode="auto">
                <a:xfrm>
                  <a:off x="3587028" y="4021007"/>
                  <a:ext cx="822472" cy="564164"/>
                </a:xfrm>
                <a:custGeom>
                  <a:avLst/>
                  <a:gdLst>
                    <a:gd name="T0" fmla="*/ 2147483646 w 1159"/>
                    <a:gd name="T1" fmla="*/ 2147483646 h 795"/>
                    <a:gd name="T2" fmla="*/ 2147483646 w 1159"/>
                    <a:gd name="T3" fmla="*/ 2147483646 h 795"/>
                    <a:gd name="T4" fmla="*/ 2147483646 w 1159"/>
                    <a:gd name="T5" fmla="*/ 2147483646 h 795"/>
                    <a:gd name="T6" fmla="*/ 2147483646 w 1159"/>
                    <a:gd name="T7" fmla="*/ 2147483646 h 795"/>
                    <a:gd name="T8" fmla="*/ 2147483646 w 1159"/>
                    <a:gd name="T9" fmla="*/ 2147483646 h 795"/>
                    <a:gd name="T10" fmla="*/ 2147483646 w 1159"/>
                    <a:gd name="T11" fmla="*/ 2147483646 h 795"/>
                    <a:gd name="T12" fmla="*/ 2147483646 w 1159"/>
                    <a:gd name="T13" fmla="*/ 2147483646 h 795"/>
                    <a:gd name="T14" fmla="*/ 2147483646 w 1159"/>
                    <a:gd name="T15" fmla="*/ 2147483646 h 795"/>
                    <a:gd name="T16" fmla="*/ 2147483646 w 1159"/>
                    <a:gd name="T17" fmla="*/ 2147483646 h 795"/>
                    <a:gd name="T18" fmla="*/ 2147483646 w 1159"/>
                    <a:gd name="T19" fmla="*/ 2147483646 h 795"/>
                    <a:gd name="T20" fmla="*/ 2147483646 w 1159"/>
                    <a:gd name="T21" fmla="*/ 2147483646 h 795"/>
                    <a:gd name="T22" fmla="*/ 2147483646 w 1159"/>
                    <a:gd name="T23" fmla="*/ 2147483646 h 795"/>
                    <a:gd name="T24" fmla="*/ 2147483646 w 1159"/>
                    <a:gd name="T25" fmla="*/ 2147483646 h 795"/>
                    <a:gd name="T26" fmla="*/ 2147483646 w 1159"/>
                    <a:gd name="T27" fmla="*/ 2147483646 h 795"/>
                    <a:gd name="T28" fmla="*/ 2147483646 w 1159"/>
                    <a:gd name="T29" fmla="*/ 2147483646 h 795"/>
                    <a:gd name="T30" fmla="*/ 2147483646 w 1159"/>
                    <a:gd name="T31" fmla="*/ 2147483646 h 795"/>
                    <a:gd name="T32" fmla="*/ 2147483646 w 1159"/>
                    <a:gd name="T33" fmla="*/ 2147483646 h 795"/>
                    <a:gd name="T34" fmla="*/ 2147483646 w 1159"/>
                    <a:gd name="T35" fmla="*/ 2147483646 h 795"/>
                    <a:gd name="T36" fmla="*/ 2147483646 w 1159"/>
                    <a:gd name="T37" fmla="*/ 2147483646 h 795"/>
                    <a:gd name="T38" fmla="*/ 2147483646 w 1159"/>
                    <a:gd name="T39" fmla="*/ 2147483646 h 795"/>
                    <a:gd name="T40" fmla="*/ 2147483646 w 1159"/>
                    <a:gd name="T41" fmla="*/ 2147483646 h 795"/>
                    <a:gd name="T42" fmla="*/ 2147483646 w 1159"/>
                    <a:gd name="T43" fmla="*/ 2147483646 h 795"/>
                    <a:gd name="T44" fmla="*/ 2147483646 w 1159"/>
                    <a:gd name="T45" fmla="*/ 2147483646 h 795"/>
                    <a:gd name="T46" fmla="*/ 2147483646 w 1159"/>
                    <a:gd name="T47" fmla="*/ 2147483646 h 795"/>
                    <a:gd name="T48" fmla="*/ 2147483646 w 1159"/>
                    <a:gd name="T49" fmla="*/ 2147483646 h 795"/>
                    <a:gd name="T50" fmla="*/ 2147483646 w 1159"/>
                    <a:gd name="T51" fmla="*/ 2147483646 h 795"/>
                    <a:gd name="T52" fmla="*/ 2147483646 w 1159"/>
                    <a:gd name="T53" fmla="*/ 2147483646 h 795"/>
                    <a:gd name="T54" fmla="*/ 2147483646 w 1159"/>
                    <a:gd name="T55" fmla="*/ 2147483646 h 795"/>
                    <a:gd name="T56" fmla="*/ 2147483646 w 1159"/>
                    <a:gd name="T57" fmla="*/ 2147483646 h 795"/>
                    <a:gd name="T58" fmla="*/ 2147483646 w 1159"/>
                    <a:gd name="T59" fmla="*/ 2147483646 h 795"/>
                    <a:gd name="T60" fmla="*/ 2147483646 w 1159"/>
                    <a:gd name="T61" fmla="*/ 2147483646 h 795"/>
                    <a:gd name="T62" fmla="*/ 2147483646 w 1159"/>
                    <a:gd name="T63" fmla="*/ 2147483646 h 795"/>
                    <a:gd name="T64" fmla="*/ 2147483646 w 1159"/>
                    <a:gd name="T65" fmla="*/ 2147483646 h 795"/>
                    <a:gd name="T66" fmla="*/ 2147483646 w 1159"/>
                    <a:gd name="T67" fmla="*/ 2147483646 h 795"/>
                    <a:gd name="T68" fmla="*/ 2147483646 w 1159"/>
                    <a:gd name="T69" fmla="*/ 2147483646 h 795"/>
                    <a:gd name="T70" fmla="*/ 2147483646 w 1159"/>
                    <a:gd name="T71" fmla="*/ 2147483646 h 795"/>
                    <a:gd name="T72" fmla="*/ 2147483646 w 1159"/>
                    <a:gd name="T73" fmla="*/ 2147483646 h 795"/>
                    <a:gd name="T74" fmla="*/ 2147483646 w 1159"/>
                    <a:gd name="T75" fmla="*/ 2147483646 h 795"/>
                    <a:gd name="T76" fmla="*/ 2147483646 w 1159"/>
                    <a:gd name="T77" fmla="*/ 2147483646 h 795"/>
                    <a:gd name="T78" fmla="*/ 2147483646 w 1159"/>
                    <a:gd name="T79" fmla="*/ 2147483646 h 795"/>
                    <a:gd name="T80" fmla="*/ 2147483646 w 1159"/>
                    <a:gd name="T81" fmla="*/ 2147483646 h 795"/>
                    <a:gd name="T82" fmla="*/ 2147483646 w 1159"/>
                    <a:gd name="T83" fmla="*/ 2147483646 h 795"/>
                    <a:gd name="T84" fmla="*/ 2147483646 w 1159"/>
                    <a:gd name="T85" fmla="*/ 2147483646 h 795"/>
                    <a:gd name="T86" fmla="*/ 2147483646 w 1159"/>
                    <a:gd name="T87" fmla="*/ 2147483646 h 795"/>
                    <a:gd name="T88" fmla="*/ 2147483646 w 1159"/>
                    <a:gd name="T89" fmla="*/ 2147483646 h 795"/>
                    <a:gd name="T90" fmla="*/ 2147483646 w 1159"/>
                    <a:gd name="T91" fmla="*/ 2147483646 h 795"/>
                    <a:gd name="T92" fmla="*/ 2147483646 w 1159"/>
                    <a:gd name="T93" fmla="*/ 2147483646 h 795"/>
                    <a:gd name="T94" fmla="*/ 2147483646 w 1159"/>
                    <a:gd name="T95" fmla="*/ 2147483646 h 795"/>
                    <a:gd name="T96" fmla="*/ 2147483646 w 1159"/>
                    <a:gd name="T97" fmla="*/ 2147483646 h 795"/>
                    <a:gd name="T98" fmla="*/ 2147483646 w 1159"/>
                    <a:gd name="T99" fmla="*/ 2147483646 h 79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159" h="795">
                      <a:moveTo>
                        <a:pt x="402" y="108"/>
                      </a:moveTo>
                      <a:lnTo>
                        <a:pt x="409" y="123"/>
                      </a:lnTo>
                      <a:lnTo>
                        <a:pt x="422" y="141"/>
                      </a:lnTo>
                      <a:lnTo>
                        <a:pt x="435" y="149"/>
                      </a:lnTo>
                      <a:lnTo>
                        <a:pt x="453" y="157"/>
                      </a:lnTo>
                      <a:lnTo>
                        <a:pt x="466" y="157"/>
                      </a:lnTo>
                      <a:lnTo>
                        <a:pt x="484" y="167"/>
                      </a:lnTo>
                      <a:lnTo>
                        <a:pt x="502" y="167"/>
                      </a:lnTo>
                      <a:lnTo>
                        <a:pt x="523" y="167"/>
                      </a:lnTo>
                      <a:lnTo>
                        <a:pt x="541" y="149"/>
                      </a:lnTo>
                      <a:lnTo>
                        <a:pt x="561" y="141"/>
                      </a:lnTo>
                      <a:lnTo>
                        <a:pt x="579" y="141"/>
                      </a:lnTo>
                      <a:lnTo>
                        <a:pt x="592" y="141"/>
                      </a:lnTo>
                      <a:lnTo>
                        <a:pt x="610" y="149"/>
                      </a:lnTo>
                      <a:lnTo>
                        <a:pt x="623" y="149"/>
                      </a:lnTo>
                      <a:lnTo>
                        <a:pt x="641" y="149"/>
                      </a:lnTo>
                      <a:lnTo>
                        <a:pt x="667" y="149"/>
                      </a:lnTo>
                      <a:lnTo>
                        <a:pt x="687" y="149"/>
                      </a:lnTo>
                      <a:lnTo>
                        <a:pt x="700" y="149"/>
                      </a:lnTo>
                      <a:lnTo>
                        <a:pt x="711" y="149"/>
                      </a:lnTo>
                      <a:lnTo>
                        <a:pt x="731" y="141"/>
                      </a:lnTo>
                      <a:lnTo>
                        <a:pt x="749" y="141"/>
                      </a:lnTo>
                      <a:lnTo>
                        <a:pt x="767" y="141"/>
                      </a:lnTo>
                      <a:lnTo>
                        <a:pt x="785" y="133"/>
                      </a:lnTo>
                      <a:lnTo>
                        <a:pt x="801" y="133"/>
                      </a:lnTo>
                      <a:lnTo>
                        <a:pt x="811" y="123"/>
                      </a:lnTo>
                      <a:lnTo>
                        <a:pt x="819" y="108"/>
                      </a:lnTo>
                      <a:lnTo>
                        <a:pt x="832" y="90"/>
                      </a:lnTo>
                      <a:lnTo>
                        <a:pt x="850" y="82"/>
                      </a:lnTo>
                      <a:lnTo>
                        <a:pt x="870" y="90"/>
                      </a:lnTo>
                      <a:lnTo>
                        <a:pt x="888" y="74"/>
                      </a:lnTo>
                      <a:lnTo>
                        <a:pt x="901" y="74"/>
                      </a:lnTo>
                      <a:lnTo>
                        <a:pt x="919" y="74"/>
                      </a:lnTo>
                      <a:lnTo>
                        <a:pt x="937" y="90"/>
                      </a:lnTo>
                      <a:lnTo>
                        <a:pt x="950" y="90"/>
                      </a:lnTo>
                      <a:lnTo>
                        <a:pt x="971" y="100"/>
                      </a:lnTo>
                      <a:lnTo>
                        <a:pt x="981" y="90"/>
                      </a:lnTo>
                      <a:lnTo>
                        <a:pt x="1002" y="82"/>
                      </a:lnTo>
                      <a:lnTo>
                        <a:pt x="1007" y="66"/>
                      </a:lnTo>
                      <a:lnTo>
                        <a:pt x="1007" y="48"/>
                      </a:lnTo>
                      <a:lnTo>
                        <a:pt x="1007" y="33"/>
                      </a:lnTo>
                      <a:lnTo>
                        <a:pt x="1020" y="41"/>
                      </a:lnTo>
                      <a:lnTo>
                        <a:pt x="1025" y="56"/>
                      </a:lnTo>
                      <a:lnTo>
                        <a:pt x="1045" y="56"/>
                      </a:lnTo>
                      <a:lnTo>
                        <a:pt x="1058" y="56"/>
                      </a:lnTo>
                      <a:lnTo>
                        <a:pt x="1071" y="41"/>
                      </a:lnTo>
                      <a:lnTo>
                        <a:pt x="1089" y="33"/>
                      </a:lnTo>
                      <a:lnTo>
                        <a:pt x="1099" y="33"/>
                      </a:lnTo>
                      <a:lnTo>
                        <a:pt x="1115" y="18"/>
                      </a:lnTo>
                      <a:lnTo>
                        <a:pt x="1125" y="0"/>
                      </a:lnTo>
                      <a:lnTo>
                        <a:pt x="1141" y="7"/>
                      </a:lnTo>
                      <a:lnTo>
                        <a:pt x="1154" y="18"/>
                      </a:lnTo>
                      <a:lnTo>
                        <a:pt x="1159" y="33"/>
                      </a:lnTo>
                      <a:lnTo>
                        <a:pt x="1143" y="33"/>
                      </a:lnTo>
                      <a:lnTo>
                        <a:pt x="1141" y="48"/>
                      </a:lnTo>
                      <a:lnTo>
                        <a:pt x="1141" y="66"/>
                      </a:lnTo>
                      <a:lnTo>
                        <a:pt x="1125" y="82"/>
                      </a:lnTo>
                      <a:lnTo>
                        <a:pt x="1120" y="108"/>
                      </a:lnTo>
                      <a:lnTo>
                        <a:pt x="1107" y="123"/>
                      </a:lnTo>
                      <a:lnTo>
                        <a:pt x="1099" y="149"/>
                      </a:lnTo>
                      <a:lnTo>
                        <a:pt x="1081" y="167"/>
                      </a:lnTo>
                      <a:lnTo>
                        <a:pt x="1071" y="182"/>
                      </a:lnTo>
                      <a:lnTo>
                        <a:pt x="1058" y="200"/>
                      </a:lnTo>
                      <a:lnTo>
                        <a:pt x="1045" y="216"/>
                      </a:lnTo>
                      <a:lnTo>
                        <a:pt x="1038" y="231"/>
                      </a:lnTo>
                      <a:lnTo>
                        <a:pt x="1025" y="247"/>
                      </a:lnTo>
                      <a:lnTo>
                        <a:pt x="1020" y="265"/>
                      </a:lnTo>
                      <a:lnTo>
                        <a:pt x="1012" y="288"/>
                      </a:lnTo>
                      <a:lnTo>
                        <a:pt x="1007" y="306"/>
                      </a:lnTo>
                      <a:lnTo>
                        <a:pt x="1002" y="324"/>
                      </a:lnTo>
                      <a:lnTo>
                        <a:pt x="1007" y="339"/>
                      </a:lnTo>
                      <a:lnTo>
                        <a:pt x="1007" y="365"/>
                      </a:lnTo>
                      <a:lnTo>
                        <a:pt x="994" y="381"/>
                      </a:lnTo>
                      <a:lnTo>
                        <a:pt x="981" y="399"/>
                      </a:lnTo>
                      <a:lnTo>
                        <a:pt x="981" y="414"/>
                      </a:lnTo>
                      <a:lnTo>
                        <a:pt x="981" y="440"/>
                      </a:lnTo>
                      <a:lnTo>
                        <a:pt x="981" y="455"/>
                      </a:lnTo>
                      <a:lnTo>
                        <a:pt x="989" y="471"/>
                      </a:lnTo>
                      <a:lnTo>
                        <a:pt x="994" y="489"/>
                      </a:lnTo>
                      <a:lnTo>
                        <a:pt x="1012" y="496"/>
                      </a:lnTo>
                      <a:lnTo>
                        <a:pt x="1025" y="504"/>
                      </a:lnTo>
                      <a:lnTo>
                        <a:pt x="1038" y="512"/>
                      </a:lnTo>
                      <a:lnTo>
                        <a:pt x="1025" y="520"/>
                      </a:lnTo>
                      <a:lnTo>
                        <a:pt x="1012" y="530"/>
                      </a:lnTo>
                      <a:lnTo>
                        <a:pt x="1025" y="553"/>
                      </a:lnTo>
                      <a:lnTo>
                        <a:pt x="1045" y="571"/>
                      </a:lnTo>
                      <a:lnTo>
                        <a:pt x="1058" y="587"/>
                      </a:lnTo>
                      <a:lnTo>
                        <a:pt x="1063" y="605"/>
                      </a:lnTo>
                      <a:lnTo>
                        <a:pt x="1063" y="620"/>
                      </a:lnTo>
                      <a:lnTo>
                        <a:pt x="1051" y="628"/>
                      </a:lnTo>
                      <a:lnTo>
                        <a:pt x="1038" y="646"/>
                      </a:lnTo>
                      <a:lnTo>
                        <a:pt x="1025" y="653"/>
                      </a:lnTo>
                      <a:lnTo>
                        <a:pt x="1012" y="669"/>
                      </a:lnTo>
                      <a:lnTo>
                        <a:pt x="1002" y="687"/>
                      </a:lnTo>
                      <a:lnTo>
                        <a:pt x="994" y="702"/>
                      </a:lnTo>
                      <a:lnTo>
                        <a:pt x="994" y="718"/>
                      </a:lnTo>
                      <a:lnTo>
                        <a:pt x="1002" y="736"/>
                      </a:lnTo>
                      <a:lnTo>
                        <a:pt x="1007" y="762"/>
                      </a:lnTo>
                      <a:lnTo>
                        <a:pt x="1002" y="777"/>
                      </a:lnTo>
                      <a:lnTo>
                        <a:pt x="989" y="795"/>
                      </a:lnTo>
                      <a:lnTo>
                        <a:pt x="973" y="795"/>
                      </a:lnTo>
                      <a:lnTo>
                        <a:pt x="963" y="785"/>
                      </a:lnTo>
                      <a:lnTo>
                        <a:pt x="963" y="769"/>
                      </a:lnTo>
                      <a:lnTo>
                        <a:pt x="945" y="769"/>
                      </a:lnTo>
                      <a:lnTo>
                        <a:pt x="924" y="762"/>
                      </a:lnTo>
                      <a:lnTo>
                        <a:pt x="914" y="762"/>
                      </a:lnTo>
                      <a:lnTo>
                        <a:pt x="893" y="762"/>
                      </a:lnTo>
                      <a:lnTo>
                        <a:pt x="875" y="769"/>
                      </a:lnTo>
                      <a:lnTo>
                        <a:pt x="863" y="762"/>
                      </a:lnTo>
                      <a:lnTo>
                        <a:pt x="845" y="754"/>
                      </a:lnTo>
                      <a:lnTo>
                        <a:pt x="832" y="754"/>
                      </a:lnTo>
                      <a:lnTo>
                        <a:pt x="819" y="744"/>
                      </a:lnTo>
                      <a:lnTo>
                        <a:pt x="801" y="736"/>
                      </a:lnTo>
                      <a:lnTo>
                        <a:pt x="783" y="728"/>
                      </a:lnTo>
                      <a:lnTo>
                        <a:pt x="767" y="718"/>
                      </a:lnTo>
                      <a:lnTo>
                        <a:pt x="757" y="710"/>
                      </a:lnTo>
                      <a:lnTo>
                        <a:pt x="742" y="687"/>
                      </a:lnTo>
                      <a:lnTo>
                        <a:pt x="731" y="661"/>
                      </a:lnTo>
                      <a:lnTo>
                        <a:pt x="718" y="646"/>
                      </a:lnTo>
                      <a:lnTo>
                        <a:pt x="705" y="628"/>
                      </a:lnTo>
                      <a:lnTo>
                        <a:pt x="687" y="612"/>
                      </a:lnTo>
                      <a:lnTo>
                        <a:pt x="667" y="605"/>
                      </a:lnTo>
                      <a:lnTo>
                        <a:pt x="649" y="594"/>
                      </a:lnTo>
                      <a:lnTo>
                        <a:pt x="636" y="587"/>
                      </a:lnTo>
                      <a:lnTo>
                        <a:pt x="623" y="587"/>
                      </a:lnTo>
                      <a:lnTo>
                        <a:pt x="605" y="587"/>
                      </a:lnTo>
                      <a:lnTo>
                        <a:pt x="584" y="587"/>
                      </a:lnTo>
                      <a:lnTo>
                        <a:pt x="572" y="587"/>
                      </a:lnTo>
                      <a:lnTo>
                        <a:pt x="561" y="579"/>
                      </a:lnTo>
                      <a:lnTo>
                        <a:pt x="548" y="579"/>
                      </a:lnTo>
                      <a:lnTo>
                        <a:pt x="530" y="579"/>
                      </a:lnTo>
                      <a:lnTo>
                        <a:pt x="510" y="571"/>
                      </a:lnTo>
                      <a:lnTo>
                        <a:pt x="492" y="553"/>
                      </a:lnTo>
                      <a:lnTo>
                        <a:pt x="471" y="553"/>
                      </a:lnTo>
                      <a:lnTo>
                        <a:pt x="461" y="545"/>
                      </a:lnTo>
                      <a:lnTo>
                        <a:pt x="448" y="538"/>
                      </a:lnTo>
                      <a:lnTo>
                        <a:pt x="435" y="520"/>
                      </a:lnTo>
                      <a:lnTo>
                        <a:pt x="422" y="504"/>
                      </a:lnTo>
                      <a:lnTo>
                        <a:pt x="402" y="496"/>
                      </a:lnTo>
                      <a:lnTo>
                        <a:pt x="389" y="489"/>
                      </a:lnTo>
                      <a:lnTo>
                        <a:pt x="371" y="489"/>
                      </a:lnTo>
                      <a:lnTo>
                        <a:pt x="358" y="471"/>
                      </a:lnTo>
                      <a:lnTo>
                        <a:pt x="345" y="455"/>
                      </a:lnTo>
                      <a:lnTo>
                        <a:pt x="327" y="448"/>
                      </a:lnTo>
                      <a:lnTo>
                        <a:pt x="309" y="429"/>
                      </a:lnTo>
                      <a:lnTo>
                        <a:pt x="296" y="422"/>
                      </a:lnTo>
                      <a:lnTo>
                        <a:pt x="275" y="406"/>
                      </a:lnTo>
                      <a:lnTo>
                        <a:pt x="265" y="406"/>
                      </a:lnTo>
                      <a:lnTo>
                        <a:pt x="245" y="399"/>
                      </a:lnTo>
                      <a:lnTo>
                        <a:pt x="234" y="399"/>
                      </a:lnTo>
                      <a:lnTo>
                        <a:pt x="219" y="399"/>
                      </a:lnTo>
                      <a:lnTo>
                        <a:pt x="209" y="388"/>
                      </a:lnTo>
                      <a:lnTo>
                        <a:pt x="196" y="373"/>
                      </a:lnTo>
                      <a:lnTo>
                        <a:pt x="175" y="355"/>
                      </a:lnTo>
                      <a:lnTo>
                        <a:pt x="165" y="355"/>
                      </a:lnTo>
                      <a:lnTo>
                        <a:pt x="144" y="355"/>
                      </a:lnTo>
                      <a:lnTo>
                        <a:pt x="131" y="355"/>
                      </a:lnTo>
                      <a:lnTo>
                        <a:pt x="118" y="355"/>
                      </a:lnTo>
                      <a:lnTo>
                        <a:pt x="106" y="355"/>
                      </a:lnTo>
                      <a:lnTo>
                        <a:pt x="93" y="365"/>
                      </a:lnTo>
                      <a:lnTo>
                        <a:pt x="82" y="373"/>
                      </a:lnTo>
                      <a:lnTo>
                        <a:pt x="70" y="365"/>
                      </a:lnTo>
                      <a:lnTo>
                        <a:pt x="62" y="347"/>
                      </a:lnTo>
                      <a:lnTo>
                        <a:pt x="57" y="332"/>
                      </a:lnTo>
                      <a:lnTo>
                        <a:pt x="44" y="332"/>
                      </a:lnTo>
                      <a:lnTo>
                        <a:pt x="31" y="324"/>
                      </a:lnTo>
                      <a:lnTo>
                        <a:pt x="18" y="306"/>
                      </a:lnTo>
                      <a:lnTo>
                        <a:pt x="13" y="288"/>
                      </a:lnTo>
                      <a:lnTo>
                        <a:pt x="13" y="272"/>
                      </a:lnTo>
                      <a:lnTo>
                        <a:pt x="0" y="257"/>
                      </a:lnTo>
                      <a:lnTo>
                        <a:pt x="13" y="239"/>
                      </a:lnTo>
                      <a:lnTo>
                        <a:pt x="13" y="224"/>
                      </a:lnTo>
                      <a:lnTo>
                        <a:pt x="13" y="206"/>
                      </a:lnTo>
                      <a:lnTo>
                        <a:pt x="18" y="190"/>
                      </a:lnTo>
                      <a:lnTo>
                        <a:pt x="23" y="172"/>
                      </a:lnTo>
                      <a:lnTo>
                        <a:pt x="31" y="157"/>
                      </a:lnTo>
                      <a:lnTo>
                        <a:pt x="44" y="141"/>
                      </a:lnTo>
                      <a:lnTo>
                        <a:pt x="57" y="133"/>
                      </a:lnTo>
                      <a:lnTo>
                        <a:pt x="70" y="133"/>
                      </a:lnTo>
                      <a:lnTo>
                        <a:pt x="82" y="123"/>
                      </a:lnTo>
                      <a:lnTo>
                        <a:pt x="93" y="115"/>
                      </a:lnTo>
                      <a:lnTo>
                        <a:pt x="100" y="108"/>
                      </a:lnTo>
                      <a:lnTo>
                        <a:pt x="100" y="90"/>
                      </a:lnTo>
                      <a:lnTo>
                        <a:pt x="113" y="74"/>
                      </a:lnTo>
                      <a:lnTo>
                        <a:pt x="126" y="82"/>
                      </a:lnTo>
                      <a:lnTo>
                        <a:pt x="126" y="100"/>
                      </a:lnTo>
                      <a:lnTo>
                        <a:pt x="131" y="115"/>
                      </a:lnTo>
                      <a:lnTo>
                        <a:pt x="144" y="133"/>
                      </a:lnTo>
                      <a:lnTo>
                        <a:pt x="157" y="133"/>
                      </a:lnTo>
                      <a:lnTo>
                        <a:pt x="165" y="149"/>
                      </a:lnTo>
                      <a:lnTo>
                        <a:pt x="180" y="149"/>
                      </a:lnTo>
                      <a:lnTo>
                        <a:pt x="201" y="141"/>
                      </a:lnTo>
                      <a:lnTo>
                        <a:pt x="214" y="133"/>
                      </a:lnTo>
                      <a:lnTo>
                        <a:pt x="227" y="123"/>
                      </a:lnTo>
                      <a:lnTo>
                        <a:pt x="234" y="108"/>
                      </a:lnTo>
                      <a:lnTo>
                        <a:pt x="239" y="90"/>
                      </a:lnTo>
                      <a:lnTo>
                        <a:pt x="252" y="74"/>
                      </a:lnTo>
                      <a:lnTo>
                        <a:pt x="265" y="74"/>
                      </a:lnTo>
                      <a:lnTo>
                        <a:pt x="275" y="74"/>
                      </a:lnTo>
                      <a:lnTo>
                        <a:pt x="291" y="74"/>
                      </a:lnTo>
                      <a:lnTo>
                        <a:pt x="402" y="108"/>
                      </a:lnTo>
                      <a:close/>
                    </a:path>
                  </a:pathLst>
                </a:custGeom>
                <a:solidFill>
                  <a:srgbClr val="5F85B1"/>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27" name="Freeform 14">
                  <a:extLst>
                    <a:ext uri="{FF2B5EF4-FFF2-40B4-BE49-F238E27FC236}">
                      <a16:creationId xmlns:a16="http://schemas.microsoft.com/office/drawing/2014/main" id="{6B205955-FB6C-C570-1EBF-582F39826FCA}"/>
                    </a:ext>
                  </a:extLst>
                </p:cNvPr>
                <p:cNvSpPr>
                  <a:spLocks/>
                </p:cNvSpPr>
                <p:nvPr/>
              </p:nvSpPr>
              <p:spPr bwMode="auto">
                <a:xfrm>
                  <a:off x="2563728" y="3136086"/>
                  <a:ext cx="423655" cy="787700"/>
                </a:xfrm>
                <a:custGeom>
                  <a:avLst/>
                  <a:gdLst>
                    <a:gd name="T0" fmla="*/ 2147483646 w 597"/>
                    <a:gd name="T1" fmla="*/ 2147483646 h 1110"/>
                    <a:gd name="T2" fmla="*/ 2147483646 w 597"/>
                    <a:gd name="T3" fmla="*/ 2147483646 h 1110"/>
                    <a:gd name="T4" fmla="*/ 2147483646 w 597"/>
                    <a:gd name="T5" fmla="*/ 2147483646 h 1110"/>
                    <a:gd name="T6" fmla="*/ 2147483646 w 597"/>
                    <a:gd name="T7" fmla="*/ 2147483646 h 1110"/>
                    <a:gd name="T8" fmla="*/ 2147483646 w 597"/>
                    <a:gd name="T9" fmla="*/ 2147483646 h 1110"/>
                    <a:gd name="T10" fmla="*/ 2147483646 w 597"/>
                    <a:gd name="T11" fmla="*/ 2147483646 h 1110"/>
                    <a:gd name="T12" fmla="*/ 2147483646 w 597"/>
                    <a:gd name="T13" fmla="*/ 0 h 1110"/>
                    <a:gd name="T14" fmla="*/ 2147483646 w 597"/>
                    <a:gd name="T15" fmla="*/ 2147483646 h 1110"/>
                    <a:gd name="T16" fmla="*/ 2147483646 w 597"/>
                    <a:gd name="T17" fmla="*/ 2147483646 h 1110"/>
                    <a:gd name="T18" fmla="*/ 2147483646 w 597"/>
                    <a:gd name="T19" fmla="*/ 2147483646 h 1110"/>
                    <a:gd name="T20" fmla="*/ 2147483646 w 597"/>
                    <a:gd name="T21" fmla="*/ 2147483646 h 1110"/>
                    <a:gd name="T22" fmla="*/ 2147483646 w 597"/>
                    <a:gd name="T23" fmla="*/ 2147483646 h 1110"/>
                    <a:gd name="T24" fmla="*/ 2147483646 w 597"/>
                    <a:gd name="T25" fmla="*/ 2147483646 h 1110"/>
                    <a:gd name="T26" fmla="*/ 2147483646 w 597"/>
                    <a:gd name="T27" fmla="*/ 2147483646 h 1110"/>
                    <a:gd name="T28" fmla="*/ 2147483646 w 597"/>
                    <a:gd name="T29" fmla="*/ 2147483646 h 1110"/>
                    <a:gd name="T30" fmla="*/ 2147483646 w 597"/>
                    <a:gd name="T31" fmla="*/ 2147483646 h 1110"/>
                    <a:gd name="T32" fmla="*/ 2147483646 w 597"/>
                    <a:gd name="T33" fmla="*/ 2147483646 h 1110"/>
                    <a:gd name="T34" fmla="*/ 2147483646 w 597"/>
                    <a:gd name="T35" fmla="*/ 2147483646 h 1110"/>
                    <a:gd name="T36" fmla="*/ 2147483646 w 597"/>
                    <a:gd name="T37" fmla="*/ 2147483646 h 1110"/>
                    <a:gd name="T38" fmla="*/ 2147483646 w 597"/>
                    <a:gd name="T39" fmla="*/ 2147483646 h 1110"/>
                    <a:gd name="T40" fmla="*/ 2147483646 w 597"/>
                    <a:gd name="T41" fmla="*/ 2147483646 h 1110"/>
                    <a:gd name="T42" fmla="*/ 2147483646 w 597"/>
                    <a:gd name="T43" fmla="*/ 2147483646 h 1110"/>
                    <a:gd name="T44" fmla="*/ 2147483646 w 597"/>
                    <a:gd name="T45" fmla="*/ 2147483646 h 1110"/>
                    <a:gd name="T46" fmla="*/ 2147483646 w 597"/>
                    <a:gd name="T47" fmla="*/ 2147483646 h 1110"/>
                    <a:gd name="T48" fmla="*/ 2147483646 w 597"/>
                    <a:gd name="T49" fmla="*/ 2147483646 h 1110"/>
                    <a:gd name="T50" fmla="*/ 2147483646 w 597"/>
                    <a:gd name="T51" fmla="*/ 2147483646 h 1110"/>
                    <a:gd name="T52" fmla="*/ 2147483646 w 597"/>
                    <a:gd name="T53" fmla="*/ 2147483646 h 1110"/>
                    <a:gd name="T54" fmla="*/ 2147483646 w 597"/>
                    <a:gd name="T55" fmla="*/ 2147483646 h 1110"/>
                    <a:gd name="T56" fmla="*/ 2147483646 w 597"/>
                    <a:gd name="T57" fmla="*/ 2147483646 h 1110"/>
                    <a:gd name="T58" fmla="*/ 2147483646 w 597"/>
                    <a:gd name="T59" fmla="*/ 2147483646 h 1110"/>
                    <a:gd name="T60" fmla="*/ 2147483646 w 597"/>
                    <a:gd name="T61" fmla="*/ 2147483646 h 1110"/>
                    <a:gd name="T62" fmla="*/ 2147483646 w 597"/>
                    <a:gd name="T63" fmla="*/ 2147483646 h 1110"/>
                    <a:gd name="T64" fmla="*/ 2147483646 w 597"/>
                    <a:gd name="T65" fmla="*/ 2147483646 h 1110"/>
                    <a:gd name="T66" fmla="*/ 2147483646 w 597"/>
                    <a:gd name="T67" fmla="*/ 2147483646 h 1110"/>
                    <a:gd name="T68" fmla="*/ 2147483646 w 597"/>
                    <a:gd name="T69" fmla="*/ 2147483646 h 1110"/>
                    <a:gd name="T70" fmla="*/ 2147483646 w 597"/>
                    <a:gd name="T71" fmla="*/ 2147483646 h 1110"/>
                    <a:gd name="T72" fmla="*/ 2147483646 w 597"/>
                    <a:gd name="T73" fmla="*/ 2147483646 h 1110"/>
                    <a:gd name="T74" fmla="*/ 2147483646 w 597"/>
                    <a:gd name="T75" fmla="*/ 2147483646 h 1110"/>
                    <a:gd name="T76" fmla="*/ 2147483646 w 597"/>
                    <a:gd name="T77" fmla="*/ 2147483646 h 1110"/>
                    <a:gd name="T78" fmla="*/ 2147483646 w 597"/>
                    <a:gd name="T79" fmla="*/ 2147483646 h 1110"/>
                    <a:gd name="T80" fmla="*/ 2147483646 w 597"/>
                    <a:gd name="T81" fmla="*/ 2147483646 h 1110"/>
                    <a:gd name="T82" fmla="*/ 2147483646 w 597"/>
                    <a:gd name="T83" fmla="*/ 2147483646 h 1110"/>
                    <a:gd name="T84" fmla="*/ 2147483646 w 597"/>
                    <a:gd name="T85" fmla="*/ 2147483646 h 1110"/>
                    <a:gd name="T86" fmla="*/ 2147483646 w 597"/>
                    <a:gd name="T87" fmla="*/ 2147483646 h 1110"/>
                    <a:gd name="T88" fmla="*/ 2147483646 w 597"/>
                    <a:gd name="T89" fmla="*/ 2147483646 h 1110"/>
                    <a:gd name="T90" fmla="*/ 2147483646 w 597"/>
                    <a:gd name="T91" fmla="*/ 2147483646 h 1110"/>
                    <a:gd name="T92" fmla="*/ 2147483646 w 597"/>
                    <a:gd name="T93" fmla="*/ 2147483646 h 1110"/>
                    <a:gd name="T94" fmla="*/ 2147483646 w 597"/>
                    <a:gd name="T95" fmla="*/ 2147483646 h 1110"/>
                    <a:gd name="T96" fmla="*/ 2147483646 w 597"/>
                    <a:gd name="T97" fmla="*/ 2147483646 h 1110"/>
                    <a:gd name="T98" fmla="*/ 2147483646 w 597"/>
                    <a:gd name="T99" fmla="*/ 2147483646 h 111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97" h="1110">
                      <a:moveTo>
                        <a:pt x="26" y="103"/>
                      </a:moveTo>
                      <a:lnTo>
                        <a:pt x="41" y="111"/>
                      </a:lnTo>
                      <a:lnTo>
                        <a:pt x="44" y="132"/>
                      </a:lnTo>
                      <a:lnTo>
                        <a:pt x="52" y="147"/>
                      </a:lnTo>
                      <a:lnTo>
                        <a:pt x="57" y="165"/>
                      </a:lnTo>
                      <a:lnTo>
                        <a:pt x="70" y="173"/>
                      </a:lnTo>
                      <a:lnTo>
                        <a:pt x="88" y="173"/>
                      </a:lnTo>
                      <a:lnTo>
                        <a:pt x="101" y="173"/>
                      </a:lnTo>
                      <a:lnTo>
                        <a:pt x="113" y="183"/>
                      </a:lnTo>
                      <a:lnTo>
                        <a:pt x="131" y="183"/>
                      </a:lnTo>
                      <a:lnTo>
                        <a:pt x="160" y="173"/>
                      </a:lnTo>
                      <a:lnTo>
                        <a:pt x="178" y="173"/>
                      </a:lnTo>
                      <a:lnTo>
                        <a:pt x="191" y="158"/>
                      </a:lnTo>
                      <a:lnTo>
                        <a:pt x="209" y="147"/>
                      </a:lnTo>
                      <a:lnTo>
                        <a:pt x="234" y="147"/>
                      </a:lnTo>
                      <a:lnTo>
                        <a:pt x="245" y="147"/>
                      </a:lnTo>
                      <a:lnTo>
                        <a:pt x="258" y="124"/>
                      </a:lnTo>
                      <a:lnTo>
                        <a:pt x="270" y="106"/>
                      </a:lnTo>
                      <a:lnTo>
                        <a:pt x="283" y="91"/>
                      </a:lnTo>
                      <a:lnTo>
                        <a:pt x="304" y="83"/>
                      </a:lnTo>
                      <a:lnTo>
                        <a:pt x="317" y="65"/>
                      </a:lnTo>
                      <a:lnTo>
                        <a:pt x="327" y="57"/>
                      </a:lnTo>
                      <a:lnTo>
                        <a:pt x="348" y="49"/>
                      </a:lnTo>
                      <a:lnTo>
                        <a:pt x="361" y="49"/>
                      </a:lnTo>
                      <a:lnTo>
                        <a:pt x="379" y="34"/>
                      </a:lnTo>
                      <a:lnTo>
                        <a:pt x="379" y="16"/>
                      </a:lnTo>
                      <a:lnTo>
                        <a:pt x="391" y="0"/>
                      </a:lnTo>
                      <a:lnTo>
                        <a:pt x="404" y="0"/>
                      </a:lnTo>
                      <a:lnTo>
                        <a:pt x="417" y="8"/>
                      </a:lnTo>
                      <a:lnTo>
                        <a:pt x="422" y="26"/>
                      </a:lnTo>
                      <a:lnTo>
                        <a:pt x="428" y="42"/>
                      </a:lnTo>
                      <a:lnTo>
                        <a:pt x="443" y="34"/>
                      </a:lnTo>
                      <a:lnTo>
                        <a:pt x="453" y="34"/>
                      </a:lnTo>
                      <a:lnTo>
                        <a:pt x="466" y="42"/>
                      </a:lnTo>
                      <a:lnTo>
                        <a:pt x="474" y="57"/>
                      </a:lnTo>
                      <a:lnTo>
                        <a:pt x="487" y="57"/>
                      </a:lnTo>
                      <a:lnTo>
                        <a:pt x="505" y="57"/>
                      </a:lnTo>
                      <a:lnTo>
                        <a:pt x="518" y="65"/>
                      </a:lnTo>
                      <a:lnTo>
                        <a:pt x="510" y="83"/>
                      </a:lnTo>
                      <a:lnTo>
                        <a:pt x="497" y="98"/>
                      </a:lnTo>
                      <a:lnTo>
                        <a:pt x="510" y="106"/>
                      </a:lnTo>
                      <a:lnTo>
                        <a:pt x="531" y="116"/>
                      </a:lnTo>
                      <a:lnTo>
                        <a:pt x="531" y="132"/>
                      </a:lnTo>
                      <a:lnTo>
                        <a:pt x="518" y="147"/>
                      </a:lnTo>
                      <a:lnTo>
                        <a:pt x="523" y="165"/>
                      </a:lnTo>
                      <a:lnTo>
                        <a:pt x="536" y="173"/>
                      </a:lnTo>
                      <a:lnTo>
                        <a:pt x="549" y="183"/>
                      </a:lnTo>
                      <a:lnTo>
                        <a:pt x="561" y="188"/>
                      </a:lnTo>
                      <a:lnTo>
                        <a:pt x="561" y="206"/>
                      </a:lnTo>
                      <a:lnTo>
                        <a:pt x="549" y="214"/>
                      </a:lnTo>
                      <a:lnTo>
                        <a:pt x="554" y="230"/>
                      </a:lnTo>
                      <a:lnTo>
                        <a:pt x="561" y="248"/>
                      </a:lnTo>
                      <a:lnTo>
                        <a:pt x="574" y="266"/>
                      </a:lnTo>
                      <a:lnTo>
                        <a:pt x="574" y="289"/>
                      </a:lnTo>
                      <a:lnTo>
                        <a:pt x="574" y="304"/>
                      </a:lnTo>
                      <a:lnTo>
                        <a:pt x="579" y="322"/>
                      </a:lnTo>
                      <a:lnTo>
                        <a:pt x="592" y="340"/>
                      </a:lnTo>
                      <a:lnTo>
                        <a:pt x="597" y="356"/>
                      </a:lnTo>
                      <a:lnTo>
                        <a:pt x="592" y="371"/>
                      </a:lnTo>
                      <a:lnTo>
                        <a:pt x="587" y="387"/>
                      </a:lnTo>
                      <a:lnTo>
                        <a:pt x="579" y="405"/>
                      </a:lnTo>
                      <a:lnTo>
                        <a:pt x="574" y="420"/>
                      </a:lnTo>
                      <a:lnTo>
                        <a:pt x="561" y="420"/>
                      </a:lnTo>
                      <a:lnTo>
                        <a:pt x="541" y="430"/>
                      </a:lnTo>
                      <a:lnTo>
                        <a:pt x="531" y="446"/>
                      </a:lnTo>
                      <a:lnTo>
                        <a:pt x="523" y="464"/>
                      </a:lnTo>
                      <a:lnTo>
                        <a:pt x="518" y="479"/>
                      </a:lnTo>
                      <a:lnTo>
                        <a:pt x="518" y="495"/>
                      </a:lnTo>
                      <a:lnTo>
                        <a:pt x="523" y="513"/>
                      </a:lnTo>
                      <a:lnTo>
                        <a:pt x="531" y="528"/>
                      </a:lnTo>
                      <a:lnTo>
                        <a:pt x="541" y="539"/>
                      </a:lnTo>
                      <a:lnTo>
                        <a:pt x="549" y="554"/>
                      </a:lnTo>
                      <a:lnTo>
                        <a:pt x="549" y="580"/>
                      </a:lnTo>
                      <a:lnTo>
                        <a:pt x="536" y="595"/>
                      </a:lnTo>
                      <a:lnTo>
                        <a:pt x="531" y="613"/>
                      </a:lnTo>
                      <a:lnTo>
                        <a:pt x="541" y="629"/>
                      </a:lnTo>
                      <a:lnTo>
                        <a:pt x="541" y="644"/>
                      </a:lnTo>
                      <a:lnTo>
                        <a:pt x="536" y="662"/>
                      </a:lnTo>
                      <a:lnTo>
                        <a:pt x="531" y="678"/>
                      </a:lnTo>
                      <a:lnTo>
                        <a:pt x="523" y="693"/>
                      </a:lnTo>
                      <a:lnTo>
                        <a:pt x="523" y="711"/>
                      </a:lnTo>
                      <a:lnTo>
                        <a:pt x="523" y="726"/>
                      </a:lnTo>
                      <a:lnTo>
                        <a:pt x="518" y="752"/>
                      </a:lnTo>
                      <a:lnTo>
                        <a:pt x="518" y="768"/>
                      </a:lnTo>
                      <a:lnTo>
                        <a:pt x="518" y="786"/>
                      </a:lnTo>
                      <a:lnTo>
                        <a:pt x="518" y="801"/>
                      </a:lnTo>
                      <a:lnTo>
                        <a:pt x="505" y="819"/>
                      </a:lnTo>
                      <a:lnTo>
                        <a:pt x="510" y="835"/>
                      </a:lnTo>
                      <a:lnTo>
                        <a:pt x="510" y="850"/>
                      </a:lnTo>
                      <a:lnTo>
                        <a:pt x="497" y="868"/>
                      </a:lnTo>
                      <a:lnTo>
                        <a:pt x="497" y="884"/>
                      </a:lnTo>
                      <a:lnTo>
                        <a:pt x="497" y="902"/>
                      </a:lnTo>
                      <a:lnTo>
                        <a:pt x="505" y="917"/>
                      </a:lnTo>
                      <a:lnTo>
                        <a:pt x="492" y="925"/>
                      </a:lnTo>
                      <a:lnTo>
                        <a:pt x="487" y="943"/>
                      </a:lnTo>
                      <a:lnTo>
                        <a:pt x="479" y="961"/>
                      </a:lnTo>
                      <a:lnTo>
                        <a:pt x="479" y="976"/>
                      </a:lnTo>
                      <a:lnTo>
                        <a:pt x="471" y="1005"/>
                      </a:lnTo>
                      <a:lnTo>
                        <a:pt x="464" y="1010"/>
                      </a:lnTo>
                      <a:lnTo>
                        <a:pt x="456" y="1025"/>
                      </a:lnTo>
                      <a:lnTo>
                        <a:pt x="451" y="1025"/>
                      </a:lnTo>
                      <a:lnTo>
                        <a:pt x="448" y="1007"/>
                      </a:lnTo>
                      <a:lnTo>
                        <a:pt x="435" y="1012"/>
                      </a:lnTo>
                      <a:lnTo>
                        <a:pt x="422" y="999"/>
                      </a:lnTo>
                      <a:lnTo>
                        <a:pt x="409" y="984"/>
                      </a:lnTo>
                      <a:lnTo>
                        <a:pt x="397" y="976"/>
                      </a:lnTo>
                      <a:lnTo>
                        <a:pt x="386" y="968"/>
                      </a:lnTo>
                      <a:lnTo>
                        <a:pt x="371" y="961"/>
                      </a:lnTo>
                      <a:lnTo>
                        <a:pt x="361" y="961"/>
                      </a:lnTo>
                      <a:lnTo>
                        <a:pt x="348" y="961"/>
                      </a:lnTo>
                      <a:lnTo>
                        <a:pt x="335" y="968"/>
                      </a:lnTo>
                      <a:lnTo>
                        <a:pt x="322" y="961"/>
                      </a:lnTo>
                      <a:lnTo>
                        <a:pt x="309" y="961"/>
                      </a:lnTo>
                      <a:lnTo>
                        <a:pt x="296" y="976"/>
                      </a:lnTo>
                      <a:lnTo>
                        <a:pt x="283" y="976"/>
                      </a:lnTo>
                      <a:lnTo>
                        <a:pt x="278" y="992"/>
                      </a:lnTo>
                      <a:lnTo>
                        <a:pt x="278" y="1007"/>
                      </a:lnTo>
                      <a:lnTo>
                        <a:pt x="278" y="1025"/>
                      </a:lnTo>
                      <a:lnTo>
                        <a:pt x="278" y="1041"/>
                      </a:lnTo>
                      <a:lnTo>
                        <a:pt x="270" y="1059"/>
                      </a:lnTo>
                      <a:lnTo>
                        <a:pt x="258" y="1074"/>
                      </a:lnTo>
                      <a:lnTo>
                        <a:pt x="245" y="1082"/>
                      </a:lnTo>
                      <a:lnTo>
                        <a:pt x="234" y="1092"/>
                      </a:lnTo>
                      <a:lnTo>
                        <a:pt x="219" y="1110"/>
                      </a:lnTo>
                      <a:lnTo>
                        <a:pt x="209" y="1108"/>
                      </a:lnTo>
                      <a:lnTo>
                        <a:pt x="196" y="1108"/>
                      </a:lnTo>
                      <a:lnTo>
                        <a:pt x="183" y="1092"/>
                      </a:lnTo>
                      <a:lnTo>
                        <a:pt x="170" y="1082"/>
                      </a:lnTo>
                      <a:lnTo>
                        <a:pt x="160" y="1082"/>
                      </a:lnTo>
                      <a:lnTo>
                        <a:pt x="144" y="1092"/>
                      </a:lnTo>
                      <a:lnTo>
                        <a:pt x="139" y="1108"/>
                      </a:lnTo>
                      <a:lnTo>
                        <a:pt x="126" y="1100"/>
                      </a:lnTo>
                      <a:lnTo>
                        <a:pt x="119" y="1082"/>
                      </a:lnTo>
                      <a:lnTo>
                        <a:pt x="119" y="1066"/>
                      </a:lnTo>
                      <a:lnTo>
                        <a:pt x="108" y="1059"/>
                      </a:lnTo>
                      <a:lnTo>
                        <a:pt x="108" y="1041"/>
                      </a:lnTo>
                      <a:lnTo>
                        <a:pt x="101" y="1025"/>
                      </a:lnTo>
                      <a:lnTo>
                        <a:pt x="95" y="1007"/>
                      </a:lnTo>
                      <a:lnTo>
                        <a:pt x="82" y="992"/>
                      </a:lnTo>
                      <a:lnTo>
                        <a:pt x="70" y="984"/>
                      </a:lnTo>
                      <a:lnTo>
                        <a:pt x="64" y="968"/>
                      </a:lnTo>
                      <a:lnTo>
                        <a:pt x="57" y="950"/>
                      </a:lnTo>
                      <a:lnTo>
                        <a:pt x="52" y="935"/>
                      </a:lnTo>
                      <a:lnTo>
                        <a:pt x="64" y="925"/>
                      </a:lnTo>
                      <a:lnTo>
                        <a:pt x="77" y="909"/>
                      </a:lnTo>
                      <a:lnTo>
                        <a:pt x="64" y="891"/>
                      </a:lnTo>
                      <a:lnTo>
                        <a:pt x="52" y="876"/>
                      </a:lnTo>
                      <a:lnTo>
                        <a:pt x="57" y="860"/>
                      </a:lnTo>
                      <a:lnTo>
                        <a:pt x="70" y="850"/>
                      </a:lnTo>
                      <a:lnTo>
                        <a:pt x="57" y="835"/>
                      </a:lnTo>
                      <a:lnTo>
                        <a:pt x="64" y="819"/>
                      </a:lnTo>
                      <a:lnTo>
                        <a:pt x="77" y="801"/>
                      </a:lnTo>
                      <a:lnTo>
                        <a:pt x="82" y="786"/>
                      </a:lnTo>
                      <a:lnTo>
                        <a:pt x="95" y="768"/>
                      </a:lnTo>
                      <a:lnTo>
                        <a:pt x="88" y="752"/>
                      </a:lnTo>
                      <a:lnTo>
                        <a:pt x="88" y="734"/>
                      </a:lnTo>
                      <a:lnTo>
                        <a:pt x="88" y="719"/>
                      </a:lnTo>
                      <a:lnTo>
                        <a:pt x="88" y="703"/>
                      </a:lnTo>
                      <a:lnTo>
                        <a:pt x="95" y="685"/>
                      </a:lnTo>
                      <a:lnTo>
                        <a:pt x="108" y="703"/>
                      </a:lnTo>
                      <a:lnTo>
                        <a:pt x="113" y="685"/>
                      </a:lnTo>
                      <a:lnTo>
                        <a:pt x="113" y="670"/>
                      </a:lnTo>
                      <a:lnTo>
                        <a:pt x="119" y="652"/>
                      </a:lnTo>
                      <a:lnTo>
                        <a:pt x="119" y="636"/>
                      </a:lnTo>
                      <a:lnTo>
                        <a:pt x="113" y="618"/>
                      </a:lnTo>
                      <a:lnTo>
                        <a:pt x="101" y="618"/>
                      </a:lnTo>
                      <a:lnTo>
                        <a:pt x="88" y="618"/>
                      </a:lnTo>
                      <a:lnTo>
                        <a:pt x="82" y="603"/>
                      </a:lnTo>
                      <a:lnTo>
                        <a:pt x="82" y="587"/>
                      </a:lnTo>
                      <a:lnTo>
                        <a:pt x="82" y="569"/>
                      </a:lnTo>
                      <a:lnTo>
                        <a:pt x="82" y="554"/>
                      </a:lnTo>
                      <a:lnTo>
                        <a:pt x="95" y="546"/>
                      </a:lnTo>
                      <a:lnTo>
                        <a:pt x="108" y="528"/>
                      </a:lnTo>
                      <a:lnTo>
                        <a:pt x="108" y="505"/>
                      </a:lnTo>
                      <a:lnTo>
                        <a:pt x="101" y="487"/>
                      </a:lnTo>
                      <a:lnTo>
                        <a:pt x="108" y="472"/>
                      </a:lnTo>
                      <a:lnTo>
                        <a:pt x="113" y="454"/>
                      </a:lnTo>
                      <a:lnTo>
                        <a:pt x="108" y="438"/>
                      </a:lnTo>
                      <a:lnTo>
                        <a:pt x="101" y="420"/>
                      </a:lnTo>
                      <a:lnTo>
                        <a:pt x="88" y="412"/>
                      </a:lnTo>
                      <a:lnTo>
                        <a:pt x="82" y="397"/>
                      </a:lnTo>
                      <a:lnTo>
                        <a:pt x="82" y="371"/>
                      </a:lnTo>
                      <a:lnTo>
                        <a:pt x="82" y="356"/>
                      </a:lnTo>
                      <a:lnTo>
                        <a:pt x="77" y="340"/>
                      </a:lnTo>
                      <a:lnTo>
                        <a:pt x="70" y="322"/>
                      </a:lnTo>
                      <a:lnTo>
                        <a:pt x="64" y="304"/>
                      </a:lnTo>
                      <a:lnTo>
                        <a:pt x="52" y="297"/>
                      </a:lnTo>
                      <a:lnTo>
                        <a:pt x="39" y="297"/>
                      </a:lnTo>
                      <a:lnTo>
                        <a:pt x="26" y="297"/>
                      </a:lnTo>
                      <a:lnTo>
                        <a:pt x="26" y="281"/>
                      </a:lnTo>
                      <a:lnTo>
                        <a:pt x="13" y="281"/>
                      </a:lnTo>
                      <a:lnTo>
                        <a:pt x="8" y="297"/>
                      </a:lnTo>
                      <a:lnTo>
                        <a:pt x="0" y="281"/>
                      </a:lnTo>
                      <a:lnTo>
                        <a:pt x="8" y="266"/>
                      </a:lnTo>
                      <a:lnTo>
                        <a:pt x="18" y="248"/>
                      </a:lnTo>
                      <a:lnTo>
                        <a:pt x="18" y="230"/>
                      </a:lnTo>
                      <a:lnTo>
                        <a:pt x="8" y="230"/>
                      </a:lnTo>
                      <a:lnTo>
                        <a:pt x="8" y="214"/>
                      </a:lnTo>
                      <a:lnTo>
                        <a:pt x="13" y="199"/>
                      </a:lnTo>
                      <a:lnTo>
                        <a:pt x="18" y="183"/>
                      </a:lnTo>
                      <a:lnTo>
                        <a:pt x="26" y="103"/>
                      </a:lnTo>
                      <a:close/>
                    </a:path>
                  </a:pathLst>
                </a:custGeom>
                <a:solidFill>
                  <a:srgbClr val="5F85B1"/>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28" name="Freeform 17">
                  <a:extLst>
                    <a:ext uri="{FF2B5EF4-FFF2-40B4-BE49-F238E27FC236}">
                      <a16:creationId xmlns:a16="http://schemas.microsoft.com/office/drawing/2014/main" id="{694A5D4B-80B6-B445-999F-29509F3D6105}"/>
                    </a:ext>
                  </a:extLst>
                </p:cNvPr>
                <p:cNvSpPr>
                  <a:spLocks/>
                </p:cNvSpPr>
                <p:nvPr/>
              </p:nvSpPr>
              <p:spPr bwMode="auto">
                <a:xfrm>
                  <a:off x="3075378" y="1628812"/>
                  <a:ext cx="491780" cy="546423"/>
                </a:xfrm>
                <a:custGeom>
                  <a:avLst/>
                  <a:gdLst>
                    <a:gd name="T0" fmla="*/ 2147483646 w 693"/>
                    <a:gd name="T1" fmla="*/ 2147483646 h 770"/>
                    <a:gd name="T2" fmla="*/ 2147483646 w 693"/>
                    <a:gd name="T3" fmla="*/ 2147483646 h 770"/>
                    <a:gd name="T4" fmla="*/ 2147483646 w 693"/>
                    <a:gd name="T5" fmla="*/ 2147483646 h 770"/>
                    <a:gd name="T6" fmla="*/ 2147483646 w 693"/>
                    <a:gd name="T7" fmla="*/ 2147483646 h 770"/>
                    <a:gd name="T8" fmla="*/ 2147483646 w 693"/>
                    <a:gd name="T9" fmla="*/ 2147483646 h 770"/>
                    <a:gd name="T10" fmla="*/ 2147483646 w 693"/>
                    <a:gd name="T11" fmla="*/ 2147483646 h 770"/>
                    <a:gd name="T12" fmla="*/ 2147483646 w 693"/>
                    <a:gd name="T13" fmla="*/ 2147483646 h 770"/>
                    <a:gd name="T14" fmla="*/ 2147483646 w 693"/>
                    <a:gd name="T15" fmla="*/ 2147483646 h 770"/>
                    <a:gd name="T16" fmla="*/ 2147483646 w 693"/>
                    <a:gd name="T17" fmla="*/ 2147483646 h 770"/>
                    <a:gd name="T18" fmla="*/ 2147483646 w 693"/>
                    <a:gd name="T19" fmla="*/ 2147483646 h 770"/>
                    <a:gd name="T20" fmla="*/ 2147483646 w 693"/>
                    <a:gd name="T21" fmla="*/ 2147483646 h 770"/>
                    <a:gd name="T22" fmla="*/ 2147483646 w 693"/>
                    <a:gd name="T23" fmla="*/ 2147483646 h 770"/>
                    <a:gd name="T24" fmla="*/ 2147483646 w 693"/>
                    <a:gd name="T25" fmla="*/ 2147483646 h 770"/>
                    <a:gd name="T26" fmla="*/ 2147483646 w 693"/>
                    <a:gd name="T27" fmla="*/ 2147483646 h 770"/>
                    <a:gd name="T28" fmla="*/ 2147483646 w 693"/>
                    <a:gd name="T29" fmla="*/ 2147483646 h 770"/>
                    <a:gd name="T30" fmla="*/ 2147483646 w 693"/>
                    <a:gd name="T31" fmla="*/ 2147483646 h 770"/>
                    <a:gd name="T32" fmla="*/ 2147483646 w 693"/>
                    <a:gd name="T33" fmla="*/ 2147483646 h 770"/>
                    <a:gd name="T34" fmla="*/ 2147483646 w 693"/>
                    <a:gd name="T35" fmla="*/ 2147483646 h 770"/>
                    <a:gd name="T36" fmla="*/ 2147483646 w 693"/>
                    <a:gd name="T37" fmla="*/ 2147483646 h 770"/>
                    <a:gd name="T38" fmla="*/ 2147483646 w 693"/>
                    <a:gd name="T39" fmla="*/ 2147483646 h 770"/>
                    <a:gd name="T40" fmla="*/ 2147483646 w 693"/>
                    <a:gd name="T41" fmla="*/ 2147483646 h 770"/>
                    <a:gd name="T42" fmla="*/ 2147483646 w 693"/>
                    <a:gd name="T43" fmla="*/ 2147483646 h 770"/>
                    <a:gd name="T44" fmla="*/ 2147483646 w 693"/>
                    <a:gd name="T45" fmla="*/ 2147483646 h 770"/>
                    <a:gd name="T46" fmla="*/ 2147483646 w 693"/>
                    <a:gd name="T47" fmla="*/ 2147483646 h 770"/>
                    <a:gd name="T48" fmla="*/ 2147483646 w 693"/>
                    <a:gd name="T49" fmla="*/ 2147483646 h 770"/>
                    <a:gd name="T50" fmla="*/ 2147483646 w 693"/>
                    <a:gd name="T51" fmla="*/ 2147483646 h 770"/>
                    <a:gd name="T52" fmla="*/ 2147483646 w 693"/>
                    <a:gd name="T53" fmla="*/ 2147483646 h 770"/>
                    <a:gd name="T54" fmla="*/ 2147483646 w 693"/>
                    <a:gd name="T55" fmla="*/ 2147483646 h 770"/>
                    <a:gd name="T56" fmla="*/ 2147483646 w 693"/>
                    <a:gd name="T57" fmla="*/ 2147483646 h 770"/>
                    <a:gd name="T58" fmla="*/ 2147483646 w 693"/>
                    <a:gd name="T59" fmla="*/ 2147483646 h 770"/>
                    <a:gd name="T60" fmla="*/ 2147483646 w 693"/>
                    <a:gd name="T61" fmla="*/ 2147483646 h 770"/>
                    <a:gd name="T62" fmla="*/ 2147483646 w 693"/>
                    <a:gd name="T63" fmla="*/ 2147483646 h 770"/>
                    <a:gd name="T64" fmla="*/ 2147483646 w 693"/>
                    <a:gd name="T65" fmla="*/ 2147483646 h 770"/>
                    <a:gd name="T66" fmla="*/ 2147483646 w 693"/>
                    <a:gd name="T67" fmla="*/ 2147483646 h 770"/>
                    <a:gd name="T68" fmla="*/ 2147483646 w 693"/>
                    <a:gd name="T69" fmla="*/ 2147483646 h 770"/>
                    <a:gd name="T70" fmla="*/ 2147483646 w 693"/>
                    <a:gd name="T71" fmla="*/ 2147483646 h 770"/>
                    <a:gd name="T72" fmla="*/ 2147483646 w 693"/>
                    <a:gd name="T73" fmla="*/ 2147483646 h 770"/>
                    <a:gd name="T74" fmla="*/ 2147483646 w 693"/>
                    <a:gd name="T75" fmla="*/ 2147483646 h 770"/>
                    <a:gd name="T76" fmla="*/ 2147483646 w 693"/>
                    <a:gd name="T77" fmla="*/ 2147483646 h 770"/>
                    <a:gd name="T78" fmla="*/ 2147483646 w 693"/>
                    <a:gd name="T79" fmla="*/ 2147483646 h 770"/>
                    <a:gd name="T80" fmla="*/ 2147483646 w 693"/>
                    <a:gd name="T81" fmla="*/ 2147483646 h 770"/>
                    <a:gd name="T82" fmla="*/ 2147483646 w 693"/>
                    <a:gd name="T83" fmla="*/ 2147483646 h 770"/>
                    <a:gd name="T84" fmla="*/ 2147483646 w 693"/>
                    <a:gd name="T85" fmla="*/ 2147483646 h 770"/>
                    <a:gd name="T86" fmla="*/ 2147483646 w 693"/>
                    <a:gd name="T87" fmla="*/ 2147483646 h 770"/>
                    <a:gd name="T88" fmla="*/ 2147483646 w 693"/>
                    <a:gd name="T89" fmla="*/ 2147483646 h 770"/>
                    <a:gd name="T90" fmla="*/ 2147483646 w 693"/>
                    <a:gd name="T91" fmla="*/ 2147483646 h 770"/>
                    <a:gd name="T92" fmla="*/ 2147483646 w 693"/>
                    <a:gd name="T93" fmla="*/ 2147483646 h 770"/>
                    <a:gd name="T94" fmla="*/ 2147483646 w 693"/>
                    <a:gd name="T95" fmla="*/ 2147483646 h 770"/>
                    <a:gd name="T96" fmla="*/ 2147483646 w 693"/>
                    <a:gd name="T97" fmla="*/ 2147483646 h 770"/>
                    <a:gd name="T98" fmla="*/ 2147483646 w 693"/>
                    <a:gd name="T99" fmla="*/ 2147483646 h 770"/>
                    <a:gd name="T100" fmla="*/ 2147483646 w 693"/>
                    <a:gd name="T101" fmla="*/ 2147483646 h 77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93" h="770">
                      <a:moveTo>
                        <a:pt x="693" y="389"/>
                      </a:moveTo>
                      <a:lnTo>
                        <a:pt x="688" y="374"/>
                      </a:lnTo>
                      <a:lnTo>
                        <a:pt x="669" y="364"/>
                      </a:lnTo>
                      <a:lnTo>
                        <a:pt x="646" y="338"/>
                      </a:lnTo>
                      <a:lnTo>
                        <a:pt x="628" y="327"/>
                      </a:lnTo>
                      <a:lnTo>
                        <a:pt x="597" y="335"/>
                      </a:lnTo>
                      <a:lnTo>
                        <a:pt x="582" y="348"/>
                      </a:lnTo>
                      <a:lnTo>
                        <a:pt x="551" y="358"/>
                      </a:lnTo>
                      <a:lnTo>
                        <a:pt x="525" y="348"/>
                      </a:lnTo>
                      <a:lnTo>
                        <a:pt x="520" y="335"/>
                      </a:lnTo>
                      <a:lnTo>
                        <a:pt x="507" y="312"/>
                      </a:lnTo>
                      <a:lnTo>
                        <a:pt x="502" y="299"/>
                      </a:lnTo>
                      <a:lnTo>
                        <a:pt x="482" y="279"/>
                      </a:lnTo>
                      <a:lnTo>
                        <a:pt x="494" y="255"/>
                      </a:lnTo>
                      <a:lnTo>
                        <a:pt x="505" y="232"/>
                      </a:lnTo>
                      <a:lnTo>
                        <a:pt x="497" y="217"/>
                      </a:lnTo>
                      <a:lnTo>
                        <a:pt x="487" y="194"/>
                      </a:lnTo>
                      <a:lnTo>
                        <a:pt x="471" y="183"/>
                      </a:lnTo>
                      <a:lnTo>
                        <a:pt x="451" y="165"/>
                      </a:lnTo>
                      <a:lnTo>
                        <a:pt x="464" y="142"/>
                      </a:lnTo>
                      <a:lnTo>
                        <a:pt x="484" y="134"/>
                      </a:lnTo>
                      <a:lnTo>
                        <a:pt x="487" y="114"/>
                      </a:lnTo>
                      <a:lnTo>
                        <a:pt x="497" y="88"/>
                      </a:lnTo>
                      <a:lnTo>
                        <a:pt x="520" y="88"/>
                      </a:lnTo>
                      <a:lnTo>
                        <a:pt x="536" y="70"/>
                      </a:lnTo>
                      <a:lnTo>
                        <a:pt x="546" y="47"/>
                      </a:lnTo>
                      <a:lnTo>
                        <a:pt x="567" y="39"/>
                      </a:lnTo>
                      <a:lnTo>
                        <a:pt x="569" y="19"/>
                      </a:lnTo>
                      <a:lnTo>
                        <a:pt x="556" y="16"/>
                      </a:lnTo>
                      <a:lnTo>
                        <a:pt x="533" y="19"/>
                      </a:lnTo>
                      <a:lnTo>
                        <a:pt x="528" y="6"/>
                      </a:lnTo>
                      <a:lnTo>
                        <a:pt x="507" y="13"/>
                      </a:lnTo>
                      <a:lnTo>
                        <a:pt x="489" y="21"/>
                      </a:lnTo>
                      <a:lnTo>
                        <a:pt x="474" y="11"/>
                      </a:lnTo>
                      <a:lnTo>
                        <a:pt x="461" y="8"/>
                      </a:lnTo>
                      <a:lnTo>
                        <a:pt x="458" y="0"/>
                      </a:lnTo>
                      <a:lnTo>
                        <a:pt x="453" y="19"/>
                      </a:lnTo>
                      <a:lnTo>
                        <a:pt x="435" y="29"/>
                      </a:lnTo>
                      <a:lnTo>
                        <a:pt x="417" y="39"/>
                      </a:lnTo>
                      <a:lnTo>
                        <a:pt x="397" y="47"/>
                      </a:lnTo>
                      <a:lnTo>
                        <a:pt x="381" y="37"/>
                      </a:lnTo>
                      <a:lnTo>
                        <a:pt x="363" y="26"/>
                      </a:lnTo>
                      <a:lnTo>
                        <a:pt x="350" y="42"/>
                      </a:lnTo>
                      <a:lnTo>
                        <a:pt x="348" y="60"/>
                      </a:lnTo>
                      <a:lnTo>
                        <a:pt x="327" y="70"/>
                      </a:lnTo>
                      <a:lnTo>
                        <a:pt x="309" y="80"/>
                      </a:lnTo>
                      <a:lnTo>
                        <a:pt x="288" y="88"/>
                      </a:lnTo>
                      <a:lnTo>
                        <a:pt x="296" y="103"/>
                      </a:lnTo>
                      <a:lnTo>
                        <a:pt x="312" y="114"/>
                      </a:lnTo>
                      <a:lnTo>
                        <a:pt x="314" y="140"/>
                      </a:lnTo>
                      <a:lnTo>
                        <a:pt x="312" y="160"/>
                      </a:lnTo>
                      <a:lnTo>
                        <a:pt x="296" y="176"/>
                      </a:lnTo>
                      <a:lnTo>
                        <a:pt x="312" y="186"/>
                      </a:lnTo>
                      <a:lnTo>
                        <a:pt x="330" y="196"/>
                      </a:lnTo>
                      <a:lnTo>
                        <a:pt x="345" y="209"/>
                      </a:lnTo>
                      <a:lnTo>
                        <a:pt x="342" y="227"/>
                      </a:lnTo>
                      <a:lnTo>
                        <a:pt x="327" y="243"/>
                      </a:lnTo>
                      <a:lnTo>
                        <a:pt x="312" y="261"/>
                      </a:lnTo>
                      <a:lnTo>
                        <a:pt x="291" y="268"/>
                      </a:lnTo>
                      <a:lnTo>
                        <a:pt x="276" y="286"/>
                      </a:lnTo>
                      <a:lnTo>
                        <a:pt x="283" y="299"/>
                      </a:lnTo>
                      <a:lnTo>
                        <a:pt x="281" y="322"/>
                      </a:lnTo>
                      <a:lnTo>
                        <a:pt x="278" y="340"/>
                      </a:lnTo>
                      <a:lnTo>
                        <a:pt x="258" y="348"/>
                      </a:lnTo>
                      <a:lnTo>
                        <a:pt x="234" y="343"/>
                      </a:lnTo>
                      <a:lnTo>
                        <a:pt x="227" y="327"/>
                      </a:lnTo>
                      <a:lnTo>
                        <a:pt x="219" y="312"/>
                      </a:lnTo>
                      <a:lnTo>
                        <a:pt x="203" y="330"/>
                      </a:lnTo>
                      <a:lnTo>
                        <a:pt x="191" y="353"/>
                      </a:lnTo>
                      <a:lnTo>
                        <a:pt x="178" y="376"/>
                      </a:lnTo>
                      <a:lnTo>
                        <a:pt x="157" y="379"/>
                      </a:lnTo>
                      <a:lnTo>
                        <a:pt x="147" y="402"/>
                      </a:lnTo>
                      <a:lnTo>
                        <a:pt x="142" y="423"/>
                      </a:lnTo>
                      <a:lnTo>
                        <a:pt x="139" y="441"/>
                      </a:lnTo>
                      <a:lnTo>
                        <a:pt x="121" y="451"/>
                      </a:lnTo>
                      <a:lnTo>
                        <a:pt x="100" y="459"/>
                      </a:lnTo>
                      <a:lnTo>
                        <a:pt x="85" y="469"/>
                      </a:lnTo>
                      <a:lnTo>
                        <a:pt x="57" y="461"/>
                      </a:lnTo>
                      <a:lnTo>
                        <a:pt x="41" y="451"/>
                      </a:lnTo>
                      <a:lnTo>
                        <a:pt x="46" y="441"/>
                      </a:lnTo>
                      <a:lnTo>
                        <a:pt x="26" y="448"/>
                      </a:lnTo>
                      <a:lnTo>
                        <a:pt x="13" y="472"/>
                      </a:lnTo>
                      <a:lnTo>
                        <a:pt x="0" y="490"/>
                      </a:lnTo>
                      <a:lnTo>
                        <a:pt x="0" y="503"/>
                      </a:lnTo>
                      <a:lnTo>
                        <a:pt x="5" y="515"/>
                      </a:lnTo>
                      <a:lnTo>
                        <a:pt x="10" y="539"/>
                      </a:lnTo>
                      <a:lnTo>
                        <a:pt x="3" y="562"/>
                      </a:lnTo>
                      <a:lnTo>
                        <a:pt x="5" y="575"/>
                      </a:lnTo>
                      <a:lnTo>
                        <a:pt x="8" y="598"/>
                      </a:lnTo>
                      <a:lnTo>
                        <a:pt x="26" y="621"/>
                      </a:lnTo>
                      <a:lnTo>
                        <a:pt x="41" y="624"/>
                      </a:lnTo>
                      <a:lnTo>
                        <a:pt x="46" y="639"/>
                      </a:lnTo>
                      <a:lnTo>
                        <a:pt x="64" y="654"/>
                      </a:lnTo>
                      <a:lnTo>
                        <a:pt x="103" y="670"/>
                      </a:lnTo>
                      <a:lnTo>
                        <a:pt x="126" y="685"/>
                      </a:lnTo>
                      <a:lnTo>
                        <a:pt x="147" y="685"/>
                      </a:lnTo>
                      <a:lnTo>
                        <a:pt x="160" y="690"/>
                      </a:lnTo>
                      <a:lnTo>
                        <a:pt x="160" y="716"/>
                      </a:lnTo>
                      <a:lnTo>
                        <a:pt x="178" y="724"/>
                      </a:lnTo>
                      <a:lnTo>
                        <a:pt x="203" y="729"/>
                      </a:lnTo>
                      <a:lnTo>
                        <a:pt x="206" y="737"/>
                      </a:lnTo>
                      <a:lnTo>
                        <a:pt x="224" y="750"/>
                      </a:lnTo>
                      <a:lnTo>
                        <a:pt x="237" y="750"/>
                      </a:lnTo>
                      <a:lnTo>
                        <a:pt x="265" y="765"/>
                      </a:lnTo>
                      <a:lnTo>
                        <a:pt x="291" y="770"/>
                      </a:lnTo>
                      <a:lnTo>
                        <a:pt x="314" y="768"/>
                      </a:lnTo>
                      <a:lnTo>
                        <a:pt x="330" y="752"/>
                      </a:lnTo>
                      <a:lnTo>
                        <a:pt x="345" y="737"/>
                      </a:lnTo>
                      <a:lnTo>
                        <a:pt x="363" y="727"/>
                      </a:lnTo>
                      <a:lnTo>
                        <a:pt x="386" y="727"/>
                      </a:lnTo>
                      <a:lnTo>
                        <a:pt x="409" y="724"/>
                      </a:lnTo>
                      <a:lnTo>
                        <a:pt x="433" y="732"/>
                      </a:lnTo>
                      <a:lnTo>
                        <a:pt x="461" y="737"/>
                      </a:lnTo>
                      <a:lnTo>
                        <a:pt x="476" y="747"/>
                      </a:lnTo>
                      <a:lnTo>
                        <a:pt x="492" y="757"/>
                      </a:lnTo>
                      <a:lnTo>
                        <a:pt x="518" y="763"/>
                      </a:lnTo>
                      <a:lnTo>
                        <a:pt x="538" y="752"/>
                      </a:lnTo>
                      <a:lnTo>
                        <a:pt x="538" y="734"/>
                      </a:lnTo>
                      <a:lnTo>
                        <a:pt x="541" y="716"/>
                      </a:lnTo>
                      <a:lnTo>
                        <a:pt x="536" y="701"/>
                      </a:lnTo>
                      <a:lnTo>
                        <a:pt x="528" y="685"/>
                      </a:lnTo>
                      <a:lnTo>
                        <a:pt x="523" y="670"/>
                      </a:lnTo>
                      <a:lnTo>
                        <a:pt x="505" y="660"/>
                      </a:lnTo>
                      <a:lnTo>
                        <a:pt x="500" y="644"/>
                      </a:lnTo>
                      <a:lnTo>
                        <a:pt x="482" y="634"/>
                      </a:lnTo>
                      <a:lnTo>
                        <a:pt x="474" y="621"/>
                      </a:lnTo>
                      <a:lnTo>
                        <a:pt x="469" y="603"/>
                      </a:lnTo>
                      <a:lnTo>
                        <a:pt x="443" y="598"/>
                      </a:lnTo>
                      <a:lnTo>
                        <a:pt x="420" y="572"/>
                      </a:lnTo>
                      <a:lnTo>
                        <a:pt x="422" y="554"/>
                      </a:lnTo>
                      <a:lnTo>
                        <a:pt x="438" y="536"/>
                      </a:lnTo>
                      <a:lnTo>
                        <a:pt x="456" y="528"/>
                      </a:lnTo>
                      <a:lnTo>
                        <a:pt x="471" y="510"/>
                      </a:lnTo>
                      <a:lnTo>
                        <a:pt x="487" y="495"/>
                      </a:lnTo>
                      <a:lnTo>
                        <a:pt x="505" y="479"/>
                      </a:lnTo>
                      <a:lnTo>
                        <a:pt x="520" y="469"/>
                      </a:lnTo>
                      <a:lnTo>
                        <a:pt x="541" y="461"/>
                      </a:lnTo>
                      <a:lnTo>
                        <a:pt x="548" y="477"/>
                      </a:lnTo>
                      <a:lnTo>
                        <a:pt x="533" y="492"/>
                      </a:lnTo>
                      <a:lnTo>
                        <a:pt x="518" y="510"/>
                      </a:lnTo>
                      <a:lnTo>
                        <a:pt x="538" y="508"/>
                      </a:lnTo>
                      <a:lnTo>
                        <a:pt x="556" y="490"/>
                      </a:lnTo>
                      <a:lnTo>
                        <a:pt x="569" y="474"/>
                      </a:lnTo>
                      <a:lnTo>
                        <a:pt x="590" y="466"/>
                      </a:lnTo>
                      <a:lnTo>
                        <a:pt x="608" y="459"/>
                      </a:lnTo>
                      <a:lnTo>
                        <a:pt x="623" y="441"/>
                      </a:lnTo>
                      <a:lnTo>
                        <a:pt x="644" y="430"/>
                      </a:lnTo>
                      <a:lnTo>
                        <a:pt x="662" y="423"/>
                      </a:lnTo>
                      <a:lnTo>
                        <a:pt x="680" y="412"/>
                      </a:lnTo>
                      <a:lnTo>
                        <a:pt x="688" y="402"/>
                      </a:lnTo>
                      <a:lnTo>
                        <a:pt x="693" y="389"/>
                      </a:lnTo>
                      <a:close/>
                    </a:path>
                  </a:pathLst>
                </a:custGeom>
                <a:solidFill>
                  <a:srgbClr val="7C7C7C"/>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29" name="Freeform 19">
                  <a:extLst>
                    <a:ext uri="{FF2B5EF4-FFF2-40B4-BE49-F238E27FC236}">
                      <a16:creationId xmlns:a16="http://schemas.microsoft.com/office/drawing/2014/main" id="{B6B26B0F-662E-79C4-2C4B-4938D64A86C0}"/>
                    </a:ext>
                  </a:extLst>
                </p:cNvPr>
                <p:cNvSpPr>
                  <a:spLocks/>
                </p:cNvSpPr>
                <p:nvPr/>
              </p:nvSpPr>
              <p:spPr bwMode="auto">
                <a:xfrm>
                  <a:off x="2233037" y="1795578"/>
                  <a:ext cx="577646" cy="681254"/>
                </a:xfrm>
                <a:custGeom>
                  <a:avLst/>
                  <a:gdLst>
                    <a:gd name="T0" fmla="*/ 2147483646 w 814"/>
                    <a:gd name="T1" fmla="*/ 2147483646 h 960"/>
                    <a:gd name="T2" fmla="*/ 2147483646 w 814"/>
                    <a:gd name="T3" fmla="*/ 2147483646 h 960"/>
                    <a:gd name="T4" fmla="*/ 2147483646 w 814"/>
                    <a:gd name="T5" fmla="*/ 2147483646 h 960"/>
                    <a:gd name="T6" fmla="*/ 2147483646 w 814"/>
                    <a:gd name="T7" fmla="*/ 2147483646 h 960"/>
                    <a:gd name="T8" fmla="*/ 2147483646 w 814"/>
                    <a:gd name="T9" fmla="*/ 2147483646 h 960"/>
                    <a:gd name="T10" fmla="*/ 2147483646 w 814"/>
                    <a:gd name="T11" fmla="*/ 2147483646 h 960"/>
                    <a:gd name="T12" fmla="*/ 2147483646 w 814"/>
                    <a:gd name="T13" fmla="*/ 2147483646 h 960"/>
                    <a:gd name="T14" fmla="*/ 2147483646 w 814"/>
                    <a:gd name="T15" fmla="*/ 2147483646 h 960"/>
                    <a:gd name="T16" fmla="*/ 2147483646 w 814"/>
                    <a:gd name="T17" fmla="*/ 2147483646 h 960"/>
                    <a:gd name="T18" fmla="*/ 2147483646 w 814"/>
                    <a:gd name="T19" fmla="*/ 2147483646 h 960"/>
                    <a:gd name="T20" fmla="*/ 2147483646 w 814"/>
                    <a:gd name="T21" fmla="*/ 2147483646 h 960"/>
                    <a:gd name="T22" fmla="*/ 2147483646 w 814"/>
                    <a:gd name="T23" fmla="*/ 2147483646 h 960"/>
                    <a:gd name="T24" fmla="*/ 2147483646 w 814"/>
                    <a:gd name="T25" fmla="*/ 2147483646 h 960"/>
                    <a:gd name="T26" fmla="*/ 2147483646 w 814"/>
                    <a:gd name="T27" fmla="*/ 2147483646 h 960"/>
                    <a:gd name="T28" fmla="*/ 2147483646 w 814"/>
                    <a:gd name="T29" fmla="*/ 2147483646 h 960"/>
                    <a:gd name="T30" fmla="*/ 2147483646 w 814"/>
                    <a:gd name="T31" fmla="*/ 2147483646 h 960"/>
                    <a:gd name="T32" fmla="*/ 2147483646 w 814"/>
                    <a:gd name="T33" fmla="*/ 2147483646 h 960"/>
                    <a:gd name="T34" fmla="*/ 2147483646 w 814"/>
                    <a:gd name="T35" fmla="*/ 2147483646 h 960"/>
                    <a:gd name="T36" fmla="*/ 2147483646 w 814"/>
                    <a:gd name="T37" fmla="*/ 2147483646 h 960"/>
                    <a:gd name="T38" fmla="*/ 2147483646 w 814"/>
                    <a:gd name="T39" fmla="*/ 2147483646 h 960"/>
                    <a:gd name="T40" fmla="*/ 2147483646 w 814"/>
                    <a:gd name="T41" fmla="*/ 2147483646 h 960"/>
                    <a:gd name="T42" fmla="*/ 2147483646 w 814"/>
                    <a:gd name="T43" fmla="*/ 2147483646 h 960"/>
                    <a:gd name="T44" fmla="*/ 2147483646 w 814"/>
                    <a:gd name="T45" fmla="*/ 2147483646 h 960"/>
                    <a:gd name="T46" fmla="*/ 2147483646 w 814"/>
                    <a:gd name="T47" fmla="*/ 2147483646 h 960"/>
                    <a:gd name="T48" fmla="*/ 2147483646 w 814"/>
                    <a:gd name="T49" fmla="*/ 2147483646 h 960"/>
                    <a:gd name="T50" fmla="*/ 2147483646 w 814"/>
                    <a:gd name="T51" fmla="*/ 2147483646 h 960"/>
                    <a:gd name="T52" fmla="*/ 2147483646 w 814"/>
                    <a:gd name="T53" fmla="*/ 2147483646 h 960"/>
                    <a:gd name="T54" fmla="*/ 2147483646 w 814"/>
                    <a:gd name="T55" fmla="*/ 2147483646 h 960"/>
                    <a:gd name="T56" fmla="*/ 2147483646 w 814"/>
                    <a:gd name="T57" fmla="*/ 2147483646 h 960"/>
                    <a:gd name="T58" fmla="*/ 2147483646 w 814"/>
                    <a:gd name="T59" fmla="*/ 2147483646 h 960"/>
                    <a:gd name="T60" fmla="*/ 2147483646 w 814"/>
                    <a:gd name="T61" fmla="*/ 2147483646 h 960"/>
                    <a:gd name="T62" fmla="*/ 2147483646 w 814"/>
                    <a:gd name="T63" fmla="*/ 2147483646 h 960"/>
                    <a:gd name="T64" fmla="*/ 2147483646 w 814"/>
                    <a:gd name="T65" fmla="*/ 2147483646 h 960"/>
                    <a:gd name="T66" fmla="*/ 2147483646 w 814"/>
                    <a:gd name="T67" fmla="*/ 2147483646 h 960"/>
                    <a:gd name="T68" fmla="*/ 2147483646 w 814"/>
                    <a:gd name="T69" fmla="*/ 2147483646 h 960"/>
                    <a:gd name="T70" fmla="*/ 2147483646 w 814"/>
                    <a:gd name="T71" fmla="*/ 2147483646 h 960"/>
                    <a:gd name="T72" fmla="*/ 2147483646 w 814"/>
                    <a:gd name="T73" fmla="*/ 2147483646 h 960"/>
                    <a:gd name="T74" fmla="*/ 2147483646 w 814"/>
                    <a:gd name="T75" fmla="*/ 2147483646 h 960"/>
                    <a:gd name="T76" fmla="*/ 2147483646 w 814"/>
                    <a:gd name="T77" fmla="*/ 2147483646 h 960"/>
                    <a:gd name="T78" fmla="*/ 2147483646 w 814"/>
                    <a:gd name="T79" fmla="*/ 2147483646 h 960"/>
                    <a:gd name="T80" fmla="*/ 2147483646 w 814"/>
                    <a:gd name="T81" fmla="*/ 2147483646 h 960"/>
                    <a:gd name="T82" fmla="*/ 2147483646 w 814"/>
                    <a:gd name="T83" fmla="*/ 2147483646 h 960"/>
                    <a:gd name="T84" fmla="*/ 2147483646 w 814"/>
                    <a:gd name="T85" fmla="*/ 2147483646 h 960"/>
                    <a:gd name="T86" fmla="*/ 2147483646 w 814"/>
                    <a:gd name="T87" fmla="*/ 2147483646 h 960"/>
                    <a:gd name="T88" fmla="*/ 2147483646 w 814"/>
                    <a:gd name="T89" fmla="*/ 2147483646 h 960"/>
                    <a:gd name="T90" fmla="*/ 2147483646 w 814"/>
                    <a:gd name="T91" fmla="*/ 2147483646 h 960"/>
                    <a:gd name="T92" fmla="*/ 2147483646 w 814"/>
                    <a:gd name="T93" fmla="*/ 2147483646 h 960"/>
                    <a:gd name="T94" fmla="*/ 2147483646 w 814"/>
                    <a:gd name="T95" fmla="*/ 2147483646 h 960"/>
                    <a:gd name="T96" fmla="*/ 2147483646 w 814"/>
                    <a:gd name="T97" fmla="*/ 2147483646 h 960"/>
                    <a:gd name="T98" fmla="*/ 2147483646 w 814"/>
                    <a:gd name="T99" fmla="*/ 2147483646 h 960"/>
                    <a:gd name="T100" fmla="*/ 2147483646 w 814"/>
                    <a:gd name="T101" fmla="*/ 2147483646 h 960"/>
                    <a:gd name="T102" fmla="*/ 2147483646 w 814"/>
                    <a:gd name="T103" fmla="*/ 2147483646 h 960"/>
                    <a:gd name="T104" fmla="*/ 2147483646 w 814"/>
                    <a:gd name="T105" fmla="*/ 2147483646 h 960"/>
                    <a:gd name="T106" fmla="*/ 2147483646 w 814"/>
                    <a:gd name="T107" fmla="*/ 2147483646 h 960"/>
                    <a:gd name="T108" fmla="*/ 2147483646 w 814"/>
                    <a:gd name="T109" fmla="*/ 2147483646 h 9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814" h="960">
                      <a:moveTo>
                        <a:pt x="340" y="957"/>
                      </a:moveTo>
                      <a:lnTo>
                        <a:pt x="332" y="939"/>
                      </a:lnTo>
                      <a:lnTo>
                        <a:pt x="327" y="924"/>
                      </a:lnTo>
                      <a:lnTo>
                        <a:pt x="299" y="916"/>
                      </a:lnTo>
                      <a:lnTo>
                        <a:pt x="281" y="927"/>
                      </a:lnTo>
                      <a:lnTo>
                        <a:pt x="265" y="945"/>
                      </a:lnTo>
                      <a:lnTo>
                        <a:pt x="242" y="945"/>
                      </a:lnTo>
                      <a:lnTo>
                        <a:pt x="221" y="947"/>
                      </a:lnTo>
                      <a:lnTo>
                        <a:pt x="198" y="947"/>
                      </a:lnTo>
                      <a:lnTo>
                        <a:pt x="155" y="932"/>
                      </a:lnTo>
                      <a:lnTo>
                        <a:pt x="139" y="921"/>
                      </a:lnTo>
                      <a:lnTo>
                        <a:pt x="121" y="903"/>
                      </a:lnTo>
                      <a:lnTo>
                        <a:pt x="103" y="893"/>
                      </a:lnTo>
                      <a:lnTo>
                        <a:pt x="98" y="878"/>
                      </a:lnTo>
                      <a:lnTo>
                        <a:pt x="98" y="857"/>
                      </a:lnTo>
                      <a:lnTo>
                        <a:pt x="100" y="839"/>
                      </a:lnTo>
                      <a:lnTo>
                        <a:pt x="95" y="824"/>
                      </a:lnTo>
                      <a:lnTo>
                        <a:pt x="80" y="813"/>
                      </a:lnTo>
                      <a:lnTo>
                        <a:pt x="77" y="788"/>
                      </a:lnTo>
                      <a:lnTo>
                        <a:pt x="90" y="762"/>
                      </a:lnTo>
                      <a:lnTo>
                        <a:pt x="106" y="746"/>
                      </a:lnTo>
                      <a:lnTo>
                        <a:pt x="121" y="728"/>
                      </a:lnTo>
                      <a:lnTo>
                        <a:pt x="137" y="713"/>
                      </a:lnTo>
                      <a:lnTo>
                        <a:pt x="129" y="697"/>
                      </a:lnTo>
                      <a:lnTo>
                        <a:pt x="113" y="687"/>
                      </a:lnTo>
                      <a:lnTo>
                        <a:pt x="116" y="669"/>
                      </a:lnTo>
                      <a:lnTo>
                        <a:pt x="108" y="654"/>
                      </a:lnTo>
                      <a:lnTo>
                        <a:pt x="93" y="641"/>
                      </a:lnTo>
                      <a:lnTo>
                        <a:pt x="70" y="643"/>
                      </a:lnTo>
                      <a:lnTo>
                        <a:pt x="44" y="638"/>
                      </a:lnTo>
                      <a:lnTo>
                        <a:pt x="28" y="628"/>
                      </a:lnTo>
                      <a:lnTo>
                        <a:pt x="21" y="613"/>
                      </a:lnTo>
                      <a:lnTo>
                        <a:pt x="23" y="594"/>
                      </a:lnTo>
                      <a:lnTo>
                        <a:pt x="26" y="574"/>
                      </a:lnTo>
                      <a:lnTo>
                        <a:pt x="0" y="569"/>
                      </a:lnTo>
                      <a:lnTo>
                        <a:pt x="13" y="546"/>
                      </a:lnTo>
                      <a:lnTo>
                        <a:pt x="34" y="543"/>
                      </a:lnTo>
                      <a:lnTo>
                        <a:pt x="54" y="533"/>
                      </a:lnTo>
                      <a:lnTo>
                        <a:pt x="72" y="525"/>
                      </a:lnTo>
                      <a:lnTo>
                        <a:pt x="93" y="515"/>
                      </a:lnTo>
                      <a:lnTo>
                        <a:pt x="121" y="502"/>
                      </a:lnTo>
                      <a:lnTo>
                        <a:pt x="139" y="494"/>
                      </a:lnTo>
                      <a:lnTo>
                        <a:pt x="152" y="468"/>
                      </a:lnTo>
                      <a:lnTo>
                        <a:pt x="144" y="453"/>
                      </a:lnTo>
                      <a:lnTo>
                        <a:pt x="147" y="435"/>
                      </a:lnTo>
                      <a:lnTo>
                        <a:pt x="162" y="419"/>
                      </a:lnTo>
                      <a:lnTo>
                        <a:pt x="155" y="404"/>
                      </a:lnTo>
                      <a:lnTo>
                        <a:pt x="170" y="386"/>
                      </a:lnTo>
                      <a:lnTo>
                        <a:pt x="191" y="378"/>
                      </a:lnTo>
                      <a:lnTo>
                        <a:pt x="214" y="376"/>
                      </a:lnTo>
                      <a:lnTo>
                        <a:pt x="229" y="360"/>
                      </a:lnTo>
                      <a:lnTo>
                        <a:pt x="245" y="350"/>
                      </a:lnTo>
                      <a:lnTo>
                        <a:pt x="273" y="358"/>
                      </a:lnTo>
                      <a:lnTo>
                        <a:pt x="299" y="363"/>
                      </a:lnTo>
                      <a:lnTo>
                        <a:pt x="319" y="355"/>
                      </a:lnTo>
                      <a:lnTo>
                        <a:pt x="335" y="337"/>
                      </a:lnTo>
                      <a:lnTo>
                        <a:pt x="353" y="329"/>
                      </a:lnTo>
                      <a:lnTo>
                        <a:pt x="368" y="314"/>
                      </a:lnTo>
                      <a:lnTo>
                        <a:pt x="361" y="296"/>
                      </a:lnTo>
                      <a:lnTo>
                        <a:pt x="363" y="278"/>
                      </a:lnTo>
                      <a:lnTo>
                        <a:pt x="345" y="260"/>
                      </a:lnTo>
                      <a:lnTo>
                        <a:pt x="330" y="229"/>
                      </a:lnTo>
                      <a:lnTo>
                        <a:pt x="337" y="219"/>
                      </a:lnTo>
                      <a:lnTo>
                        <a:pt x="350" y="203"/>
                      </a:lnTo>
                      <a:lnTo>
                        <a:pt x="371" y="193"/>
                      </a:lnTo>
                      <a:lnTo>
                        <a:pt x="384" y="167"/>
                      </a:lnTo>
                      <a:lnTo>
                        <a:pt x="376" y="154"/>
                      </a:lnTo>
                      <a:lnTo>
                        <a:pt x="389" y="131"/>
                      </a:lnTo>
                      <a:lnTo>
                        <a:pt x="404" y="113"/>
                      </a:lnTo>
                      <a:lnTo>
                        <a:pt x="417" y="90"/>
                      </a:lnTo>
                      <a:lnTo>
                        <a:pt x="409" y="74"/>
                      </a:lnTo>
                      <a:lnTo>
                        <a:pt x="412" y="54"/>
                      </a:lnTo>
                      <a:lnTo>
                        <a:pt x="409" y="28"/>
                      </a:lnTo>
                      <a:lnTo>
                        <a:pt x="425" y="10"/>
                      </a:lnTo>
                      <a:lnTo>
                        <a:pt x="446" y="2"/>
                      </a:lnTo>
                      <a:lnTo>
                        <a:pt x="466" y="0"/>
                      </a:lnTo>
                      <a:lnTo>
                        <a:pt x="476" y="15"/>
                      </a:lnTo>
                      <a:lnTo>
                        <a:pt x="482" y="31"/>
                      </a:lnTo>
                      <a:lnTo>
                        <a:pt x="489" y="46"/>
                      </a:lnTo>
                      <a:lnTo>
                        <a:pt x="528" y="54"/>
                      </a:lnTo>
                      <a:lnTo>
                        <a:pt x="536" y="69"/>
                      </a:lnTo>
                      <a:lnTo>
                        <a:pt x="543" y="85"/>
                      </a:lnTo>
                      <a:lnTo>
                        <a:pt x="567" y="90"/>
                      </a:lnTo>
                      <a:lnTo>
                        <a:pt x="574" y="105"/>
                      </a:lnTo>
                      <a:lnTo>
                        <a:pt x="590" y="116"/>
                      </a:lnTo>
                      <a:lnTo>
                        <a:pt x="597" y="131"/>
                      </a:lnTo>
                      <a:lnTo>
                        <a:pt x="595" y="149"/>
                      </a:lnTo>
                      <a:lnTo>
                        <a:pt x="579" y="167"/>
                      </a:lnTo>
                      <a:lnTo>
                        <a:pt x="564" y="183"/>
                      </a:lnTo>
                      <a:lnTo>
                        <a:pt x="572" y="198"/>
                      </a:lnTo>
                      <a:lnTo>
                        <a:pt x="569" y="219"/>
                      </a:lnTo>
                      <a:lnTo>
                        <a:pt x="554" y="234"/>
                      </a:lnTo>
                      <a:lnTo>
                        <a:pt x="559" y="250"/>
                      </a:lnTo>
                      <a:lnTo>
                        <a:pt x="567" y="265"/>
                      </a:lnTo>
                      <a:lnTo>
                        <a:pt x="567" y="283"/>
                      </a:lnTo>
                      <a:lnTo>
                        <a:pt x="572" y="298"/>
                      </a:lnTo>
                      <a:lnTo>
                        <a:pt x="577" y="314"/>
                      </a:lnTo>
                      <a:lnTo>
                        <a:pt x="585" y="329"/>
                      </a:lnTo>
                      <a:lnTo>
                        <a:pt x="590" y="345"/>
                      </a:lnTo>
                      <a:lnTo>
                        <a:pt x="621" y="358"/>
                      </a:lnTo>
                      <a:lnTo>
                        <a:pt x="639" y="368"/>
                      </a:lnTo>
                      <a:lnTo>
                        <a:pt x="636" y="386"/>
                      </a:lnTo>
                      <a:lnTo>
                        <a:pt x="621" y="404"/>
                      </a:lnTo>
                      <a:lnTo>
                        <a:pt x="621" y="430"/>
                      </a:lnTo>
                      <a:lnTo>
                        <a:pt x="600" y="437"/>
                      </a:lnTo>
                      <a:lnTo>
                        <a:pt x="567" y="437"/>
                      </a:lnTo>
                      <a:lnTo>
                        <a:pt x="546" y="445"/>
                      </a:lnTo>
                      <a:lnTo>
                        <a:pt x="548" y="473"/>
                      </a:lnTo>
                      <a:lnTo>
                        <a:pt x="556" y="497"/>
                      </a:lnTo>
                      <a:lnTo>
                        <a:pt x="556" y="515"/>
                      </a:lnTo>
                      <a:lnTo>
                        <a:pt x="561" y="530"/>
                      </a:lnTo>
                      <a:lnTo>
                        <a:pt x="587" y="538"/>
                      </a:lnTo>
                      <a:lnTo>
                        <a:pt x="605" y="548"/>
                      </a:lnTo>
                      <a:lnTo>
                        <a:pt x="631" y="553"/>
                      </a:lnTo>
                      <a:lnTo>
                        <a:pt x="649" y="546"/>
                      </a:lnTo>
                      <a:lnTo>
                        <a:pt x="667" y="561"/>
                      </a:lnTo>
                      <a:lnTo>
                        <a:pt x="685" y="574"/>
                      </a:lnTo>
                      <a:lnTo>
                        <a:pt x="706" y="592"/>
                      </a:lnTo>
                      <a:lnTo>
                        <a:pt x="708" y="597"/>
                      </a:lnTo>
                      <a:lnTo>
                        <a:pt x="716" y="613"/>
                      </a:lnTo>
                      <a:lnTo>
                        <a:pt x="736" y="631"/>
                      </a:lnTo>
                      <a:lnTo>
                        <a:pt x="754" y="623"/>
                      </a:lnTo>
                      <a:lnTo>
                        <a:pt x="770" y="633"/>
                      </a:lnTo>
                      <a:lnTo>
                        <a:pt x="788" y="643"/>
                      </a:lnTo>
                      <a:lnTo>
                        <a:pt x="806" y="661"/>
                      </a:lnTo>
                      <a:lnTo>
                        <a:pt x="811" y="667"/>
                      </a:lnTo>
                      <a:lnTo>
                        <a:pt x="814" y="669"/>
                      </a:lnTo>
                      <a:lnTo>
                        <a:pt x="801" y="679"/>
                      </a:lnTo>
                      <a:lnTo>
                        <a:pt x="791" y="697"/>
                      </a:lnTo>
                      <a:lnTo>
                        <a:pt x="783" y="713"/>
                      </a:lnTo>
                      <a:lnTo>
                        <a:pt x="780" y="734"/>
                      </a:lnTo>
                      <a:lnTo>
                        <a:pt x="783" y="736"/>
                      </a:lnTo>
                      <a:lnTo>
                        <a:pt x="754" y="752"/>
                      </a:lnTo>
                      <a:lnTo>
                        <a:pt x="747" y="734"/>
                      </a:lnTo>
                      <a:lnTo>
                        <a:pt x="731" y="726"/>
                      </a:lnTo>
                      <a:lnTo>
                        <a:pt x="716" y="713"/>
                      </a:lnTo>
                      <a:lnTo>
                        <a:pt x="695" y="723"/>
                      </a:lnTo>
                      <a:lnTo>
                        <a:pt x="680" y="739"/>
                      </a:lnTo>
                      <a:lnTo>
                        <a:pt x="662" y="746"/>
                      </a:lnTo>
                      <a:lnTo>
                        <a:pt x="644" y="757"/>
                      </a:lnTo>
                      <a:lnTo>
                        <a:pt x="623" y="767"/>
                      </a:lnTo>
                      <a:lnTo>
                        <a:pt x="615" y="752"/>
                      </a:lnTo>
                      <a:lnTo>
                        <a:pt x="597" y="759"/>
                      </a:lnTo>
                      <a:lnTo>
                        <a:pt x="582" y="777"/>
                      </a:lnTo>
                      <a:lnTo>
                        <a:pt x="561" y="785"/>
                      </a:lnTo>
                      <a:lnTo>
                        <a:pt x="541" y="788"/>
                      </a:lnTo>
                      <a:lnTo>
                        <a:pt x="525" y="803"/>
                      </a:lnTo>
                      <a:lnTo>
                        <a:pt x="518" y="788"/>
                      </a:lnTo>
                      <a:lnTo>
                        <a:pt x="492" y="782"/>
                      </a:lnTo>
                      <a:lnTo>
                        <a:pt x="489" y="800"/>
                      </a:lnTo>
                      <a:lnTo>
                        <a:pt x="484" y="813"/>
                      </a:lnTo>
                      <a:lnTo>
                        <a:pt x="471" y="836"/>
                      </a:lnTo>
                      <a:lnTo>
                        <a:pt x="453" y="844"/>
                      </a:lnTo>
                      <a:lnTo>
                        <a:pt x="440" y="870"/>
                      </a:lnTo>
                      <a:lnTo>
                        <a:pt x="448" y="885"/>
                      </a:lnTo>
                      <a:lnTo>
                        <a:pt x="453" y="901"/>
                      </a:lnTo>
                      <a:lnTo>
                        <a:pt x="451" y="919"/>
                      </a:lnTo>
                      <a:lnTo>
                        <a:pt x="438" y="945"/>
                      </a:lnTo>
                      <a:lnTo>
                        <a:pt x="420" y="952"/>
                      </a:lnTo>
                      <a:lnTo>
                        <a:pt x="402" y="960"/>
                      </a:lnTo>
                      <a:lnTo>
                        <a:pt x="376" y="955"/>
                      </a:lnTo>
                      <a:lnTo>
                        <a:pt x="350" y="950"/>
                      </a:lnTo>
                      <a:lnTo>
                        <a:pt x="340" y="957"/>
                      </a:lnTo>
                      <a:close/>
                    </a:path>
                  </a:pathLst>
                </a:custGeom>
                <a:solidFill>
                  <a:srgbClr val="00155B"/>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30" name="Freeform 20">
                  <a:extLst>
                    <a:ext uri="{FF2B5EF4-FFF2-40B4-BE49-F238E27FC236}">
                      <a16:creationId xmlns:a16="http://schemas.microsoft.com/office/drawing/2014/main" id="{85E146BA-4C92-D7D2-951A-EC5D1D05EA82}"/>
                    </a:ext>
                  </a:extLst>
                </p:cNvPr>
                <p:cNvSpPr>
                  <a:spLocks/>
                </p:cNvSpPr>
                <p:nvPr/>
              </p:nvSpPr>
              <p:spPr bwMode="auto">
                <a:xfrm>
                  <a:off x="2269937" y="1928990"/>
                  <a:ext cx="224246" cy="153282"/>
                </a:xfrm>
                <a:custGeom>
                  <a:avLst/>
                  <a:gdLst>
                    <a:gd name="T0" fmla="*/ 2147483646 w 316"/>
                    <a:gd name="T1" fmla="*/ 2147483646 h 216"/>
                    <a:gd name="T2" fmla="*/ 2147483646 w 316"/>
                    <a:gd name="T3" fmla="*/ 2147483646 h 216"/>
                    <a:gd name="T4" fmla="*/ 2147483646 w 316"/>
                    <a:gd name="T5" fmla="*/ 2147483646 h 216"/>
                    <a:gd name="T6" fmla="*/ 2147483646 w 316"/>
                    <a:gd name="T7" fmla="*/ 2147483646 h 216"/>
                    <a:gd name="T8" fmla="*/ 2147483646 w 316"/>
                    <a:gd name="T9" fmla="*/ 2147483646 h 216"/>
                    <a:gd name="T10" fmla="*/ 2147483646 w 316"/>
                    <a:gd name="T11" fmla="*/ 2147483646 h 216"/>
                    <a:gd name="T12" fmla="*/ 2147483646 w 316"/>
                    <a:gd name="T13" fmla="*/ 2147483646 h 216"/>
                    <a:gd name="T14" fmla="*/ 2147483646 w 316"/>
                    <a:gd name="T15" fmla="*/ 2147483646 h 216"/>
                    <a:gd name="T16" fmla="*/ 2147483646 w 316"/>
                    <a:gd name="T17" fmla="*/ 2147483646 h 216"/>
                    <a:gd name="T18" fmla="*/ 2147483646 w 316"/>
                    <a:gd name="T19" fmla="*/ 2147483646 h 216"/>
                    <a:gd name="T20" fmla="*/ 2147483646 w 316"/>
                    <a:gd name="T21" fmla="*/ 2147483646 h 216"/>
                    <a:gd name="T22" fmla="*/ 2147483646 w 316"/>
                    <a:gd name="T23" fmla="*/ 2147483646 h 216"/>
                    <a:gd name="T24" fmla="*/ 2147483646 w 316"/>
                    <a:gd name="T25" fmla="*/ 2147483646 h 216"/>
                    <a:gd name="T26" fmla="*/ 2147483646 w 316"/>
                    <a:gd name="T27" fmla="*/ 2147483646 h 216"/>
                    <a:gd name="T28" fmla="*/ 2147483646 w 316"/>
                    <a:gd name="T29" fmla="*/ 2147483646 h 216"/>
                    <a:gd name="T30" fmla="*/ 2147483646 w 316"/>
                    <a:gd name="T31" fmla="*/ 2147483646 h 216"/>
                    <a:gd name="T32" fmla="*/ 2147483646 w 316"/>
                    <a:gd name="T33" fmla="*/ 2147483646 h 216"/>
                    <a:gd name="T34" fmla="*/ 2147483646 w 316"/>
                    <a:gd name="T35" fmla="*/ 2147483646 h 216"/>
                    <a:gd name="T36" fmla="*/ 2147483646 w 316"/>
                    <a:gd name="T37" fmla="*/ 2147483646 h 216"/>
                    <a:gd name="T38" fmla="*/ 2147483646 w 316"/>
                    <a:gd name="T39" fmla="*/ 2147483646 h 216"/>
                    <a:gd name="T40" fmla="*/ 2147483646 w 316"/>
                    <a:gd name="T41" fmla="*/ 2147483646 h 216"/>
                    <a:gd name="T42" fmla="*/ 2147483646 w 316"/>
                    <a:gd name="T43" fmla="*/ 2147483646 h 216"/>
                    <a:gd name="T44" fmla="*/ 2147483646 w 316"/>
                    <a:gd name="T45" fmla="*/ 2147483646 h 216"/>
                    <a:gd name="T46" fmla="*/ 2147483646 w 316"/>
                    <a:gd name="T47" fmla="*/ 2147483646 h 216"/>
                    <a:gd name="T48" fmla="*/ 2147483646 w 316"/>
                    <a:gd name="T49" fmla="*/ 2147483646 h 216"/>
                    <a:gd name="T50" fmla="*/ 2147483646 w 316"/>
                    <a:gd name="T51" fmla="*/ 2147483646 h 216"/>
                    <a:gd name="T52" fmla="*/ 2147483646 w 316"/>
                    <a:gd name="T53" fmla="*/ 2147483646 h 216"/>
                    <a:gd name="T54" fmla="*/ 2147483646 w 316"/>
                    <a:gd name="T55" fmla="*/ 2147483646 h 216"/>
                    <a:gd name="T56" fmla="*/ 0 w 316"/>
                    <a:gd name="T57" fmla="*/ 2147483646 h 216"/>
                    <a:gd name="T58" fmla="*/ 2147483646 w 316"/>
                    <a:gd name="T59" fmla="*/ 2147483646 h 216"/>
                    <a:gd name="T60" fmla="*/ 2147483646 w 316"/>
                    <a:gd name="T61" fmla="*/ 2147483646 h 216"/>
                    <a:gd name="T62" fmla="*/ 2147483646 w 316"/>
                    <a:gd name="T63" fmla="*/ 2147483646 h 216"/>
                    <a:gd name="T64" fmla="*/ 2147483646 w 316"/>
                    <a:gd name="T65" fmla="*/ 2147483646 h 216"/>
                    <a:gd name="T66" fmla="*/ 2147483646 w 316"/>
                    <a:gd name="T67" fmla="*/ 2147483646 h 216"/>
                    <a:gd name="T68" fmla="*/ 2147483646 w 316"/>
                    <a:gd name="T69" fmla="*/ 2147483646 h 216"/>
                    <a:gd name="T70" fmla="*/ 2147483646 w 316"/>
                    <a:gd name="T71" fmla="*/ 2147483646 h 216"/>
                    <a:gd name="T72" fmla="*/ 2147483646 w 316"/>
                    <a:gd name="T73" fmla="*/ 2147483646 h 216"/>
                    <a:gd name="T74" fmla="*/ 2147483646 w 316"/>
                    <a:gd name="T75" fmla="*/ 2147483646 h 216"/>
                    <a:gd name="T76" fmla="*/ 2147483646 w 316"/>
                    <a:gd name="T77" fmla="*/ 0 h 216"/>
                    <a:gd name="T78" fmla="*/ 2147483646 w 316"/>
                    <a:gd name="T79" fmla="*/ 0 h 216"/>
                    <a:gd name="T80" fmla="*/ 2147483646 w 316"/>
                    <a:gd name="T81" fmla="*/ 2147483646 h 216"/>
                    <a:gd name="T82" fmla="*/ 2147483646 w 316"/>
                    <a:gd name="T83" fmla="*/ 2147483646 h 216"/>
                    <a:gd name="T84" fmla="*/ 2147483646 w 316"/>
                    <a:gd name="T85" fmla="*/ 2147483646 h 216"/>
                    <a:gd name="T86" fmla="*/ 2147483646 w 316"/>
                    <a:gd name="T87" fmla="*/ 2147483646 h 216"/>
                    <a:gd name="T88" fmla="*/ 2147483646 w 316"/>
                    <a:gd name="T89" fmla="*/ 2147483646 h 216"/>
                    <a:gd name="T90" fmla="*/ 2147483646 w 316"/>
                    <a:gd name="T91" fmla="*/ 2147483646 h 21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16" h="216">
                      <a:moveTo>
                        <a:pt x="285" y="31"/>
                      </a:moveTo>
                      <a:lnTo>
                        <a:pt x="280" y="41"/>
                      </a:lnTo>
                      <a:lnTo>
                        <a:pt x="293" y="72"/>
                      </a:lnTo>
                      <a:lnTo>
                        <a:pt x="314" y="90"/>
                      </a:lnTo>
                      <a:lnTo>
                        <a:pt x="309" y="108"/>
                      </a:lnTo>
                      <a:lnTo>
                        <a:pt x="316" y="126"/>
                      </a:lnTo>
                      <a:lnTo>
                        <a:pt x="301" y="141"/>
                      </a:lnTo>
                      <a:lnTo>
                        <a:pt x="283" y="149"/>
                      </a:lnTo>
                      <a:lnTo>
                        <a:pt x="267" y="167"/>
                      </a:lnTo>
                      <a:lnTo>
                        <a:pt x="247" y="175"/>
                      </a:lnTo>
                      <a:lnTo>
                        <a:pt x="224" y="170"/>
                      </a:lnTo>
                      <a:lnTo>
                        <a:pt x="195" y="162"/>
                      </a:lnTo>
                      <a:lnTo>
                        <a:pt x="177" y="172"/>
                      </a:lnTo>
                      <a:lnTo>
                        <a:pt x="162" y="188"/>
                      </a:lnTo>
                      <a:lnTo>
                        <a:pt x="141" y="190"/>
                      </a:lnTo>
                      <a:lnTo>
                        <a:pt x="121" y="198"/>
                      </a:lnTo>
                      <a:lnTo>
                        <a:pt x="105" y="216"/>
                      </a:lnTo>
                      <a:lnTo>
                        <a:pt x="103" y="216"/>
                      </a:lnTo>
                      <a:lnTo>
                        <a:pt x="92" y="211"/>
                      </a:lnTo>
                      <a:lnTo>
                        <a:pt x="64" y="206"/>
                      </a:lnTo>
                      <a:lnTo>
                        <a:pt x="48" y="198"/>
                      </a:lnTo>
                      <a:lnTo>
                        <a:pt x="43" y="183"/>
                      </a:lnTo>
                      <a:lnTo>
                        <a:pt x="46" y="162"/>
                      </a:lnTo>
                      <a:lnTo>
                        <a:pt x="46" y="144"/>
                      </a:lnTo>
                      <a:lnTo>
                        <a:pt x="36" y="118"/>
                      </a:lnTo>
                      <a:lnTo>
                        <a:pt x="30" y="105"/>
                      </a:lnTo>
                      <a:lnTo>
                        <a:pt x="12" y="95"/>
                      </a:lnTo>
                      <a:lnTo>
                        <a:pt x="7" y="80"/>
                      </a:lnTo>
                      <a:lnTo>
                        <a:pt x="0" y="64"/>
                      </a:lnTo>
                      <a:lnTo>
                        <a:pt x="23" y="64"/>
                      </a:lnTo>
                      <a:lnTo>
                        <a:pt x="41" y="54"/>
                      </a:lnTo>
                      <a:lnTo>
                        <a:pt x="51" y="49"/>
                      </a:lnTo>
                      <a:lnTo>
                        <a:pt x="69" y="41"/>
                      </a:lnTo>
                      <a:lnTo>
                        <a:pt x="92" y="38"/>
                      </a:lnTo>
                      <a:lnTo>
                        <a:pt x="110" y="28"/>
                      </a:lnTo>
                      <a:lnTo>
                        <a:pt x="126" y="15"/>
                      </a:lnTo>
                      <a:lnTo>
                        <a:pt x="149" y="13"/>
                      </a:lnTo>
                      <a:lnTo>
                        <a:pt x="175" y="18"/>
                      </a:lnTo>
                      <a:lnTo>
                        <a:pt x="190" y="0"/>
                      </a:lnTo>
                      <a:lnTo>
                        <a:pt x="213" y="0"/>
                      </a:lnTo>
                      <a:lnTo>
                        <a:pt x="218" y="15"/>
                      </a:lnTo>
                      <a:lnTo>
                        <a:pt x="226" y="31"/>
                      </a:lnTo>
                      <a:lnTo>
                        <a:pt x="252" y="36"/>
                      </a:lnTo>
                      <a:lnTo>
                        <a:pt x="267" y="20"/>
                      </a:lnTo>
                      <a:lnTo>
                        <a:pt x="291" y="25"/>
                      </a:lnTo>
                      <a:lnTo>
                        <a:pt x="285" y="31"/>
                      </a:lnTo>
                      <a:close/>
                    </a:path>
                  </a:pathLst>
                </a:custGeom>
                <a:solidFill>
                  <a:srgbClr val="00155B"/>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31" name="Freeform 21">
                  <a:extLst>
                    <a:ext uri="{FF2B5EF4-FFF2-40B4-BE49-F238E27FC236}">
                      <a16:creationId xmlns:a16="http://schemas.microsoft.com/office/drawing/2014/main" id="{754A2347-E719-BDD2-384F-FC098912A047}"/>
                    </a:ext>
                  </a:extLst>
                </p:cNvPr>
                <p:cNvSpPr>
                  <a:spLocks/>
                </p:cNvSpPr>
                <p:nvPr/>
              </p:nvSpPr>
              <p:spPr bwMode="auto">
                <a:xfrm>
                  <a:off x="2443089" y="2301550"/>
                  <a:ext cx="517328" cy="270373"/>
                </a:xfrm>
                <a:custGeom>
                  <a:avLst/>
                  <a:gdLst>
                    <a:gd name="T0" fmla="*/ 2147483646 w 729"/>
                    <a:gd name="T1" fmla="*/ 2147483646 h 381"/>
                    <a:gd name="T2" fmla="*/ 2147483646 w 729"/>
                    <a:gd name="T3" fmla="*/ 2147483646 h 381"/>
                    <a:gd name="T4" fmla="*/ 2147483646 w 729"/>
                    <a:gd name="T5" fmla="*/ 2147483646 h 381"/>
                    <a:gd name="T6" fmla="*/ 2147483646 w 729"/>
                    <a:gd name="T7" fmla="*/ 2147483646 h 381"/>
                    <a:gd name="T8" fmla="*/ 2147483646 w 729"/>
                    <a:gd name="T9" fmla="*/ 2147483646 h 381"/>
                    <a:gd name="T10" fmla="*/ 2147483646 w 729"/>
                    <a:gd name="T11" fmla="*/ 2147483646 h 381"/>
                    <a:gd name="T12" fmla="*/ 2147483646 w 729"/>
                    <a:gd name="T13" fmla="*/ 2147483646 h 381"/>
                    <a:gd name="T14" fmla="*/ 2147483646 w 729"/>
                    <a:gd name="T15" fmla="*/ 2147483646 h 381"/>
                    <a:gd name="T16" fmla="*/ 2147483646 w 729"/>
                    <a:gd name="T17" fmla="*/ 2147483646 h 381"/>
                    <a:gd name="T18" fmla="*/ 2147483646 w 729"/>
                    <a:gd name="T19" fmla="*/ 2147483646 h 381"/>
                    <a:gd name="T20" fmla="*/ 2147483646 w 729"/>
                    <a:gd name="T21" fmla="*/ 2147483646 h 381"/>
                    <a:gd name="T22" fmla="*/ 2147483646 w 729"/>
                    <a:gd name="T23" fmla="*/ 2147483646 h 381"/>
                    <a:gd name="T24" fmla="*/ 2147483646 w 729"/>
                    <a:gd name="T25" fmla="*/ 2147483646 h 381"/>
                    <a:gd name="T26" fmla="*/ 2147483646 w 729"/>
                    <a:gd name="T27" fmla="*/ 2147483646 h 381"/>
                    <a:gd name="T28" fmla="*/ 2147483646 w 729"/>
                    <a:gd name="T29" fmla="*/ 2147483646 h 381"/>
                    <a:gd name="T30" fmla="*/ 2147483646 w 729"/>
                    <a:gd name="T31" fmla="*/ 2147483646 h 381"/>
                    <a:gd name="T32" fmla="*/ 2147483646 w 729"/>
                    <a:gd name="T33" fmla="*/ 2147483646 h 381"/>
                    <a:gd name="T34" fmla="*/ 2147483646 w 729"/>
                    <a:gd name="T35" fmla="*/ 2147483646 h 381"/>
                    <a:gd name="T36" fmla="*/ 2147483646 w 729"/>
                    <a:gd name="T37" fmla="*/ 2147483646 h 381"/>
                    <a:gd name="T38" fmla="*/ 2147483646 w 729"/>
                    <a:gd name="T39" fmla="*/ 2147483646 h 381"/>
                    <a:gd name="T40" fmla="*/ 2147483646 w 729"/>
                    <a:gd name="T41" fmla="*/ 2147483646 h 381"/>
                    <a:gd name="T42" fmla="*/ 2147483646 w 729"/>
                    <a:gd name="T43" fmla="*/ 2147483646 h 381"/>
                    <a:gd name="T44" fmla="*/ 2147483646 w 729"/>
                    <a:gd name="T45" fmla="*/ 2147483646 h 381"/>
                    <a:gd name="T46" fmla="*/ 2147483646 w 729"/>
                    <a:gd name="T47" fmla="*/ 2147483646 h 381"/>
                    <a:gd name="T48" fmla="*/ 2147483646 w 729"/>
                    <a:gd name="T49" fmla="*/ 2147483646 h 381"/>
                    <a:gd name="T50" fmla="*/ 2147483646 w 729"/>
                    <a:gd name="T51" fmla="*/ 2147483646 h 381"/>
                    <a:gd name="T52" fmla="*/ 2147483646 w 729"/>
                    <a:gd name="T53" fmla="*/ 2147483646 h 381"/>
                    <a:gd name="T54" fmla="*/ 2147483646 w 729"/>
                    <a:gd name="T55" fmla="*/ 2147483646 h 381"/>
                    <a:gd name="T56" fmla="*/ 2147483646 w 729"/>
                    <a:gd name="T57" fmla="*/ 2147483646 h 381"/>
                    <a:gd name="T58" fmla="*/ 2147483646 w 729"/>
                    <a:gd name="T59" fmla="*/ 2147483646 h 381"/>
                    <a:gd name="T60" fmla="*/ 2147483646 w 729"/>
                    <a:gd name="T61" fmla="*/ 0 h 381"/>
                    <a:gd name="T62" fmla="*/ 2147483646 w 729"/>
                    <a:gd name="T63" fmla="*/ 2147483646 h 381"/>
                    <a:gd name="T64" fmla="*/ 2147483646 w 729"/>
                    <a:gd name="T65" fmla="*/ 2147483646 h 381"/>
                    <a:gd name="T66" fmla="*/ 2147483646 w 729"/>
                    <a:gd name="T67" fmla="*/ 2147483646 h 381"/>
                    <a:gd name="T68" fmla="*/ 2147483646 w 729"/>
                    <a:gd name="T69" fmla="*/ 2147483646 h 381"/>
                    <a:gd name="T70" fmla="*/ 2147483646 w 729"/>
                    <a:gd name="T71" fmla="*/ 2147483646 h 381"/>
                    <a:gd name="T72" fmla="*/ 2147483646 w 729"/>
                    <a:gd name="T73" fmla="*/ 2147483646 h 381"/>
                    <a:gd name="T74" fmla="*/ 2147483646 w 729"/>
                    <a:gd name="T75" fmla="*/ 2147483646 h 381"/>
                    <a:gd name="T76" fmla="*/ 2147483646 w 729"/>
                    <a:gd name="T77" fmla="*/ 2147483646 h 381"/>
                    <a:gd name="T78" fmla="*/ 2147483646 w 729"/>
                    <a:gd name="T79" fmla="*/ 2147483646 h 381"/>
                    <a:gd name="T80" fmla="*/ 2147483646 w 729"/>
                    <a:gd name="T81" fmla="*/ 2147483646 h 381"/>
                    <a:gd name="T82" fmla="*/ 2147483646 w 729"/>
                    <a:gd name="T83" fmla="*/ 2147483646 h 381"/>
                    <a:gd name="T84" fmla="*/ 2147483646 w 729"/>
                    <a:gd name="T85" fmla="*/ 2147483646 h 381"/>
                    <a:gd name="T86" fmla="*/ 2147483646 w 729"/>
                    <a:gd name="T87" fmla="*/ 2147483646 h 381"/>
                    <a:gd name="T88" fmla="*/ 2147483646 w 729"/>
                    <a:gd name="T89" fmla="*/ 2147483646 h 381"/>
                    <a:gd name="T90" fmla="*/ 2147483646 w 729"/>
                    <a:gd name="T91" fmla="*/ 2147483646 h 381"/>
                    <a:gd name="T92" fmla="*/ 2147483646 w 729"/>
                    <a:gd name="T93" fmla="*/ 2147483646 h 381"/>
                    <a:gd name="T94" fmla="*/ 2147483646 w 729"/>
                    <a:gd name="T95" fmla="*/ 2147483646 h 381"/>
                    <a:gd name="T96" fmla="*/ 2147483646 w 729"/>
                    <a:gd name="T97" fmla="*/ 2147483646 h 38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9" h="381">
                      <a:moveTo>
                        <a:pt x="16" y="381"/>
                      </a:moveTo>
                      <a:lnTo>
                        <a:pt x="36" y="373"/>
                      </a:lnTo>
                      <a:lnTo>
                        <a:pt x="54" y="363"/>
                      </a:lnTo>
                      <a:lnTo>
                        <a:pt x="77" y="363"/>
                      </a:lnTo>
                      <a:lnTo>
                        <a:pt x="95" y="353"/>
                      </a:lnTo>
                      <a:lnTo>
                        <a:pt x="124" y="340"/>
                      </a:lnTo>
                      <a:lnTo>
                        <a:pt x="142" y="332"/>
                      </a:lnTo>
                      <a:lnTo>
                        <a:pt x="162" y="322"/>
                      </a:lnTo>
                      <a:lnTo>
                        <a:pt x="178" y="306"/>
                      </a:lnTo>
                      <a:lnTo>
                        <a:pt x="186" y="273"/>
                      </a:lnTo>
                      <a:lnTo>
                        <a:pt x="198" y="250"/>
                      </a:lnTo>
                      <a:lnTo>
                        <a:pt x="211" y="226"/>
                      </a:lnTo>
                      <a:lnTo>
                        <a:pt x="224" y="208"/>
                      </a:lnTo>
                      <a:lnTo>
                        <a:pt x="245" y="201"/>
                      </a:lnTo>
                      <a:lnTo>
                        <a:pt x="260" y="185"/>
                      </a:lnTo>
                      <a:lnTo>
                        <a:pt x="273" y="160"/>
                      </a:lnTo>
                      <a:lnTo>
                        <a:pt x="283" y="134"/>
                      </a:lnTo>
                      <a:lnTo>
                        <a:pt x="301" y="121"/>
                      </a:lnTo>
                      <a:lnTo>
                        <a:pt x="317" y="103"/>
                      </a:lnTo>
                      <a:lnTo>
                        <a:pt x="335" y="95"/>
                      </a:lnTo>
                      <a:lnTo>
                        <a:pt x="355" y="85"/>
                      </a:lnTo>
                      <a:lnTo>
                        <a:pt x="379" y="90"/>
                      </a:lnTo>
                      <a:lnTo>
                        <a:pt x="415" y="93"/>
                      </a:lnTo>
                      <a:lnTo>
                        <a:pt x="438" y="90"/>
                      </a:lnTo>
                      <a:lnTo>
                        <a:pt x="453" y="103"/>
                      </a:lnTo>
                      <a:lnTo>
                        <a:pt x="482" y="108"/>
                      </a:lnTo>
                      <a:lnTo>
                        <a:pt x="507" y="116"/>
                      </a:lnTo>
                      <a:lnTo>
                        <a:pt x="523" y="123"/>
                      </a:lnTo>
                      <a:lnTo>
                        <a:pt x="538" y="134"/>
                      </a:lnTo>
                      <a:lnTo>
                        <a:pt x="569" y="149"/>
                      </a:lnTo>
                      <a:lnTo>
                        <a:pt x="585" y="160"/>
                      </a:lnTo>
                      <a:lnTo>
                        <a:pt x="613" y="172"/>
                      </a:lnTo>
                      <a:lnTo>
                        <a:pt x="634" y="190"/>
                      </a:lnTo>
                      <a:lnTo>
                        <a:pt x="649" y="201"/>
                      </a:lnTo>
                      <a:lnTo>
                        <a:pt x="664" y="203"/>
                      </a:lnTo>
                      <a:lnTo>
                        <a:pt x="685" y="203"/>
                      </a:lnTo>
                      <a:lnTo>
                        <a:pt x="703" y="214"/>
                      </a:lnTo>
                      <a:lnTo>
                        <a:pt x="729" y="219"/>
                      </a:lnTo>
                      <a:lnTo>
                        <a:pt x="724" y="206"/>
                      </a:lnTo>
                      <a:lnTo>
                        <a:pt x="711" y="203"/>
                      </a:lnTo>
                      <a:lnTo>
                        <a:pt x="701" y="185"/>
                      </a:lnTo>
                      <a:lnTo>
                        <a:pt x="680" y="167"/>
                      </a:lnTo>
                      <a:lnTo>
                        <a:pt x="664" y="157"/>
                      </a:lnTo>
                      <a:lnTo>
                        <a:pt x="659" y="142"/>
                      </a:lnTo>
                      <a:lnTo>
                        <a:pt x="641" y="131"/>
                      </a:lnTo>
                      <a:lnTo>
                        <a:pt x="634" y="111"/>
                      </a:lnTo>
                      <a:lnTo>
                        <a:pt x="613" y="100"/>
                      </a:lnTo>
                      <a:lnTo>
                        <a:pt x="608" y="85"/>
                      </a:lnTo>
                      <a:lnTo>
                        <a:pt x="582" y="80"/>
                      </a:lnTo>
                      <a:lnTo>
                        <a:pt x="559" y="80"/>
                      </a:lnTo>
                      <a:lnTo>
                        <a:pt x="554" y="64"/>
                      </a:lnTo>
                      <a:lnTo>
                        <a:pt x="564" y="41"/>
                      </a:lnTo>
                      <a:lnTo>
                        <a:pt x="549" y="31"/>
                      </a:lnTo>
                      <a:lnTo>
                        <a:pt x="533" y="21"/>
                      </a:lnTo>
                      <a:lnTo>
                        <a:pt x="510" y="21"/>
                      </a:lnTo>
                      <a:lnTo>
                        <a:pt x="487" y="23"/>
                      </a:lnTo>
                      <a:lnTo>
                        <a:pt x="458" y="39"/>
                      </a:lnTo>
                      <a:lnTo>
                        <a:pt x="451" y="21"/>
                      </a:lnTo>
                      <a:lnTo>
                        <a:pt x="435" y="13"/>
                      </a:lnTo>
                      <a:lnTo>
                        <a:pt x="420" y="0"/>
                      </a:lnTo>
                      <a:lnTo>
                        <a:pt x="399" y="10"/>
                      </a:lnTo>
                      <a:lnTo>
                        <a:pt x="384" y="26"/>
                      </a:lnTo>
                      <a:lnTo>
                        <a:pt x="366" y="33"/>
                      </a:lnTo>
                      <a:lnTo>
                        <a:pt x="348" y="44"/>
                      </a:lnTo>
                      <a:lnTo>
                        <a:pt x="327" y="54"/>
                      </a:lnTo>
                      <a:lnTo>
                        <a:pt x="319" y="39"/>
                      </a:lnTo>
                      <a:lnTo>
                        <a:pt x="301" y="46"/>
                      </a:lnTo>
                      <a:lnTo>
                        <a:pt x="286" y="64"/>
                      </a:lnTo>
                      <a:lnTo>
                        <a:pt x="265" y="72"/>
                      </a:lnTo>
                      <a:lnTo>
                        <a:pt x="245" y="75"/>
                      </a:lnTo>
                      <a:lnTo>
                        <a:pt x="229" y="90"/>
                      </a:lnTo>
                      <a:lnTo>
                        <a:pt x="222" y="75"/>
                      </a:lnTo>
                      <a:lnTo>
                        <a:pt x="196" y="69"/>
                      </a:lnTo>
                      <a:lnTo>
                        <a:pt x="193" y="87"/>
                      </a:lnTo>
                      <a:lnTo>
                        <a:pt x="188" y="100"/>
                      </a:lnTo>
                      <a:lnTo>
                        <a:pt x="175" y="123"/>
                      </a:lnTo>
                      <a:lnTo>
                        <a:pt x="157" y="131"/>
                      </a:lnTo>
                      <a:lnTo>
                        <a:pt x="144" y="157"/>
                      </a:lnTo>
                      <a:lnTo>
                        <a:pt x="152" y="172"/>
                      </a:lnTo>
                      <a:lnTo>
                        <a:pt x="157" y="188"/>
                      </a:lnTo>
                      <a:lnTo>
                        <a:pt x="155" y="206"/>
                      </a:lnTo>
                      <a:lnTo>
                        <a:pt x="142" y="232"/>
                      </a:lnTo>
                      <a:lnTo>
                        <a:pt x="124" y="239"/>
                      </a:lnTo>
                      <a:lnTo>
                        <a:pt x="106" y="247"/>
                      </a:lnTo>
                      <a:lnTo>
                        <a:pt x="80" y="242"/>
                      </a:lnTo>
                      <a:lnTo>
                        <a:pt x="54" y="237"/>
                      </a:lnTo>
                      <a:lnTo>
                        <a:pt x="44" y="244"/>
                      </a:lnTo>
                      <a:lnTo>
                        <a:pt x="41" y="247"/>
                      </a:lnTo>
                      <a:lnTo>
                        <a:pt x="59" y="270"/>
                      </a:lnTo>
                      <a:lnTo>
                        <a:pt x="47" y="296"/>
                      </a:lnTo>
                      <a:lnTo>
                        <a:pt x="26" y="306"/>
                      </a:lnTo>
                      <a:lnTo>
                        <a:pt x="10" y="319"/>
                      </a:lnTo>
                      <a:lnTo>
                        <a:pt x="8" y="340"/>
                      </a:lnTo>
                      <a:lnTo>
                        <a:pt x="5" y="360"/>
                      </a:lnTo>
                      <a:lnTo>
                        <a:pt x="0" y="371"/>
                      </a:lnTo>
                      <a:lnTo>
                        <a:pt x="3" y="378"/>
                      </a:lnTo>
                      <a:lnTo>
                        <a:pt x="16" y="381"/>
                      </a:lnTo>
                      <a:close/>
                    </a:path>
                  </a:pathLst>
                </a:custGeom>
                <a:solidFill>
                  <a:srgbClr val="00155B"/>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32" name="Freeform 22">
                  <a:extLst>
                    <a:ext uri="{FF2B5EF4-FFF2-40B4-BE49-F238E27FC236}">
                      <a16:creationId xmlns:a16="http://schemas.microsoft.com/office/drawing/2014/main" id="{95DCE387-452F-2FF0-BD54-1758EA0B139A}"/>
                    </a:ext>
                  </a:extLst>
                </p:cNvPr>
                <p:cNvSpPr>
                  <a:spLocks/>
                </p:cNvSpPr>
                <p:nvPr/>
              </p:nvSpPr>
              <p:spPr bwMode="auto">
                <a:xfrm>
                  <a:off x="2893001" y="2354153"/>
                  <a:ext cx="580485" cy="589711"/>
                </a:xfrm>
                <a:custGeom>
                  <a:avLst/>
                  <a:gdLst>
                    <a:gd name="T0" fmla="*/ 2147483646 w 818"/>
                    <a:gd name="T1" fmla="*/ 2147483646 h 831"/>
                    <a:gd name="T2" fmla="*/ 2147483646 w 818"/>
                    <a:gd name="T3" fmla="*/ 2147483646 h 831"/>
                    <a:gd name="T4" fmla="*/ 0 w 818"/>
                    <a:gd name="T5" fmla="*/ 2147483646 h 831"/>
                    <a:gd name="T6" fmla="*/ 2147483646 w 818"/>
                    <a:gd name="T7" fmla="*/ 0 h 831"/>
                    <a:gd name="T8" fmla="*/ 2147483646 w 818"/>
                    <a:gd name="T9" fmla="*/ 2147483646 h 831"/>
                    <a:gd name="T10" fmla="*/ 2147483646 w 818"/>
                    <a:gd name="T11" fmla="*/ 2147483646 h 831"/>
                    <a:gd name="T12" fmla="*/ 2147483646 w 818"/>
                    <a:gd name="T13" fmla="*/ 2147483646 h 831"/>
                    <a:gd name="T14" fmla="*/ 2147483646 w 818"/>
                    <a:gd name="T15" fmla="*/ 2147483646 h 831"/>
                    <a:gd name="T16" fmla="*/ 2147483646 w 818"/>
                    <a:gd name="T17" fmla="*/ 2147483646 h 831"/>
                    <a:gd name="T18" fmla="*/ 2147483646 w 818"/>
                    <a:gd name="T19" fmla="*/ 2147483646 h 831"/>
                    <a:gd name="T20" fmla="*/ 2147483646 w 818"/>
                    <a:gd name="T21" fmla="*/ 2147483646 h 831"/>
                    <a:gd name="T22" fmla="*/ 2147483646 w 818"/>
                    <a:gd name="T23" fmla="*/ 2147483646 h 831"/>
                    <a:gd name="T24" fmla="*/ 2147483646 w 818"/>
                    <a:gd name="T25" fmla="*/ 2147483646 h 831"/>
                    <a:gd name="T26" fmla="*/ 2147483646 w 818"/>
                    <a:gd name="T27" fmla="*/ 2147483646 h 831"/>
                    <a:gd name="T28" fmla="*/ 2147483646 w 818"/>
                    <a:gd name="T29" fmla="*/ 2147483646 h 831"/>
                    <a:gd name="T30" fmla="*/ 2147483646 w 818"/>
                    <a:gd name="T31" fmla="*/ 2147483646 h 831"/>
                    <a:gd name="T32" fmla="*/ 2147483646 w 818"/>
                    <a:gd name="T33" fmla="*/ 2147483646 h 831"/>
                    <a:gd name="T34" fmla="*/ 2147483646 w 818"/>
                    <a:gd name="T35" fmla="*/ 2147483646 h 831"/>
                    <a:gd name="T36" fmla="*/ 2147483646 w 818"/>
                    <a:gd name="T37" fmla="*/ 2147483646 h 831"/>
                    <a:gd name="T38" fmla="*/ 2147483646 w 818"/>
                    <a:gd name="T39" fmla="*/ 2147483646 h 831"/>
                    <a:gd name="T40" fmla="*/ 2147483646 w 818"/>
                    <a:gd name="T41" fmla="*/ 2147483646 h 831"/>
                    <a:gd name="T42" fmla="*/ 2147483646 w 818"/>
                    <a:gd name="T43" fmla="*/ 2147483646 h 831"/>
                    <a:gd name="T44" fmla="*/ 2147483646 w 818"/>
                    <a:gd name="T45" fmla="*/ 2147483646 h 831"/>
                    <a:gd name="T46" fmla="*/ 2147483646 w 818"/>
                    <a:gd name="T47" fmla="*/ 2147483646 h 831"/>
                    <a:gd name="T48" fmla="*/ 2147483646 w 818"/>
                    <a:gd name="T49" fmla="*/ 2147483646 h 831"/>
                    <a:gd name="T50" fmla="*/ 2147483646 w 818"/>
                    <a:gd name="T51" fmla="*/ 2147483646 h 831"/>
                    <a:gd name="T52" fmla="*/ 2147483646 w 818"/>
                    <a:gd name="T53" fmla="*/ 2147483646 h 831"/>
                    <a:gd name="T54" fmla="*/ 2147483646 w 818"/>
                    <a:gd name="T55" fmla="*/ 2147483646 h 831"/>
                    <a:gd name="T56" fmla="*/ 2147483646 w 818"/>
                    <a:gd name="T57" fmla="*/ 2147483646 h 831"/>
                    <a:gd name="T58" fmla="*/ 2147483646 w 818"/>
                    <a:gd name="T59" fmla="*/ 2147483646 h 831"/>
                    <a:gd name="T60" fmla="*/ 2147483646 w 818"/>
                    <a:gd name="T61" fmla="*/ 2147483646 h 831"/>
                    <a:gd name="T62" fmla="*/ 2147483646 w 818"/>
                    <a:gd name="T63" fmla="*/ 2147483646 h 831"/>
                    <a:gd name="T64" fmla="*/ 2147483646 w 818"/>
                    <a:gd name="T65" fmla="*/ 2147483646 h 831"/>
                    <a:gd name="T66" fmla="*/ 2147483646 w 818"/>
                    <a:gd name="T67" fmla="*/ 2147483646 h 831"/>
                    <a:gd name="T68" fmla="*/ 2147483646 w 818"/>
                    <a:gd name="T69" fmla="*/ 2147483646 h 831"/>
                    <a:gd name="T70" fmla="*/ 2147483646 w 818"/>
                    <a:gd name="T71" fmla="*/ 2147483646 h 831"/>
                    <a:gd name="T72" fmla="*/ 2147483646 w 818"/>
                    <a:gd name="T73" fmla="*/ 2147483646 h 831"/>
                    <a:gd name="T74" fmla="*/ 2147483646 w 818"/>
                    <a:gd name="T75" fmla="*/ 2147483646 h 831"/>
                    <a:gd name="T76" fmla="*/ 2147483646 w 818"/>
                    <a:gd name="T77" fmla="*/ 2147483646 h 831"/>
                    <a:gd name="T78" fmla="*/ 2147483646 w 818"/>
                    <a:gd name="T79" fmla="*/ 2147483646 h 831"/>
                    <a:gd name="T80" fmla="*/ 2147483646 w 818"/>
                    <a:gd name="T81" fmla="*/ 2147483646 h 831"/>
                    <a:gd name="T82" fmla="*/ 2147483646 w 818"/>
                    <a:gd name="T83" fmla="*/ 2147483646 h 831"/>
                    <a:gd name="T84" fmla="*/ 2147483646 w 818"/>
                    <a:gd name="T85" fmla="*/ 2147483646 h 831"/>
                    <a:gd name="T86" fmla="*/ 2147483646 w 818"/>
                    <a:gd name="T87" fmla="*/ 2147483646 h 831"/>
                    <a:gd name="T88" fmla="*/ 2147483646 w 818"/>
                    <a:gd name="T89" fmla="*/ 2147483646 h 831"/>
                    <a:gd name="T90" fmla="*/ 2147483646 w 818"/>
                    <a:gd name="T91" fmla="*/ 2147483646 h 831"/>
                    <a:gd name="T92" fmla="*/ 2147483646 w 818"/>
                    <a:gd name="T93" fmla="*/ 2147483646 h 831"/>
                    <a:gd name="T94" fmla="*/ 2147483646 w 818"/>
                    <a:gd name="T95" fmla="*/ 2147483646 h 831"/>
                    <a:gd name="T96" fmla="*/ 2147483646 w 818"/>
                    <a:gd name="T97" fmla="*/ 2147483646 h 831"/>
                    <a:gd name="T98" fmla="*/ 2147483646 w 818"/>
                    <a:gd name="T99" fmla="*/ 2147483646 h 83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818" h="831">
                      <a:moveTo>
                        <a:pt x="95" y="152"/>
                      </a:moveTo>
                      <a:lnTo>
                        <a:pt x="90" y="139"/>
                      </a:lnTo>
                      <a:lnTo>
                        <a:pt x="77" y="141"/>
                      </a:lnTo>
                      <a:lnTo>
                        <a:pt x="67" y="118"/>
                      </a:lnTo>
                      <a:lnTo>
                        <a:pt x="46" y="100"/>
                      </a:lnTo>
                      <a:lnTo>
                        <a:pt x="30" y="90"/>
                      </a:lnTo>
                      <a:lnTo>
                        <a:pt x="25" y="75"/>
                      </a:lnTo>
                      <a:lnTo>
                        <a:pt x="7" y="64"/>
                      </a:lnTo>
                      <a:lnTo>
                        <a:pt x="0" y="49"/>
                      </a:lnTo>
                      <a:lnTo>
                        <a:pt x="28" y="8"/>
                      </a:lnTo>
                      <a:lnTo>
                        <a:pt x="46" y="0"/>
                      </a:lnTo>
                      <a:lnTo>
                        <a:pt x="69" y="0"/>
                      </a:lnTo>
                      <a:lnTo>
                        <a:pt x="95" y="5"/>
                      </a:lnTo>
                      <a:lnTo>
                        <a:pt x="103" y="20"/>
                      </a:lnTo>
                      <a:lnTo>
                        <a:pt x="121" y="31"/>
                      </a:lnTo>
                      <a:lnTo>
                        <a:pt x="144" y="36"/>
                      </a:lnTo>
                      <a:lnTo>
                        <a:pt x="162" y="49"/>
                      </a:lnTo>
                      <a:lnTo>
                        <a:pt x="177" y="56"/>
                      </a:lnTo>
                      <a:lnTo>
                        <a:pt x="200" y="56"/>
                      </a:lnTo>
                      <a:lnTo>
                        <a:pt x="221" y="75"/>
                      </a:lnTo>
                      <a:lnTo>
                        <a:pt x="236" y="85"/>
                      </a:lnTo>
                      <a:lnTo>
                        <a:pt x="252" y="95"/>
                      </a:lnTo>
                      <a:lnTo>
                        <a:pt x="270" y="105"/>
                      </a:lnTo>
                      <a:lnTo>
                        <a:pt x="285" y="116"/>
                      </a:lnTo>
                      <a:lnTo>
                        <a:pt x="309" y="113"/>
                      </a:lnTo>
                      <a:lnTo>
                        <a:pt x="342" y="116"/>
                      </a:lnTo>
                      <a:lnTo>
                        <a:pt x="365" y="113"/>
                      </a:lnTo>
                      <a:lnTo>
                        <a:pt x="388" y="113"/>
                      </a:lnTo>
                      <a:lnTo>
                        <a:pt x="412" y="111"/>
                      </a:lnTo>
                      <a:lnTo>
                        <a:pt x="432" y="108"/>
                      </a:lnTo>
                      <a:lnTo>
                        <a:pt x="463" y="98"/>
                      </a:lnTo>
                      <a:lnTo>
                        <a:pt x="481" y="87"/>
                      </a:lnTo>
                      <a:lnTo>
                        <a:pt x="497" y="69"/>
                      </a:lnTo>
                      <a:lnTo>
                        <a:pt x="515" y="62"/>
                      </a:lnTo>
                      <a:lnTo>
                        <a:pt x="538" y="62"/>
                      </a:lnTo>
                      <a:lnTo>
                        <a:pt x="543" y="75"/>
                      </a:lnTo>
                      <a:lnTo>
                        <a:pt x="561" y="87"/>
                      </a:lnTo>
                      <a:lnTo>
                        <a:pt x="579" y="77"/>
                      </a:lnTo>
                      <a:lnTo>
                        <a:pt x="602" y="75"/>
                      </a:lnTo>
                      <a:lnTo>
                        <a:pt x="610" y="90"/>
                      </a:lnTo>
                      <a:lnTo>
                        <a:pt x="625" y="100"/>
                      </a:lnTo>
                      <a:lnTo>
                        <a:pt x="623" y="121"/>
                      </a:lnTo>
                      <a:lnTo>
                        <a:pt x="610" y="147"/>
                      </a:lnTo>
                      <a:lnTo>
                        <a:pt x="628" y="154"/>
                      </a:lnTo>
                      <a:lnTo>
                        <a:pt x="633" y="170"/>
                      </a:lnTo>
                      <a:lnTo>
                        <a:pt x="633" y="190"/>
                      </a:lnTo>
                      <a:lnTo>
                        <a:pt x="661" y="203"/>
                      </a:lnTo>
                      <a:lnTo>
                        <a:pt x="677" y="214"/>
                      </a:lnTo>
                      <a:lnTo>
                        <a:pt x="687" y="214"/>
                      </a:lnTo>
                      <a:lnTo>
                        <a:pt x="710" y="219"/>
                      </a:lnTo>
                      <a:lnTo>
                        <a:pt x="731" y="219"/>
                      </a:lnTo>
                      <a:lnTo>
                        <a:pt x="749" y="216"/>
                      </a:lnTo>
                      <a:lnTo>
                        <a:pt x="767" y="208"/>
                      </a:lnTo>
                      <a:lnTo>
                        <a:pt x="790" y="208"/>
                      </a:lnTo>
                      <a:lnTo>
                        <a:pt x="798" y="211"/>
                      </a:lnTo>
                      <a:lnTo>
                        <a:pt x="803" y="224"/>
                      </a:lnTo>
                      <a:lnTo>
                        <a:pt x="803" y="229"/>
                      </a:lnTo>
                      <a:lnTo>
                        <a:pt x="800" y="229"/>
                      </a:lnTo>
                      <a:lnTo>
                        <a:pt x="785" y="224"/>
                      </a:lnTo>
                      <a:lnTo>
                        <a:pt x="777" y="229"/>
                      </a:lnTo>
                      <a:lnTo>
                        <a:pt x="775" y="250"/>
                      </a:lnTo>
                      <a:lnTo>
                        <a:pt x="785" y="260"/>
                      </a:lnTo>
                      <a:lnTo>
                        <a:pt x="800" y="270"/>
                      </a:lnTo>
                      <a:lnTo>
                        <a:pt x="798" y="275"/>
                      </a:lnTo>
                      <a:lnTo>
                        <a:pt x="787" y="299"/>
                      </a:lnTo>
                      <a:lnTo>
                        <a:pt x="769" y="317"/>
                      </a:lnTo>
                      <a:lnTo>
                        <a:pt x="767" y="335"/>
                      </a:lnTo>
                      <a:lnTo>
                        <a:pt x="772" y="353"/>
                      </a:lnTo>
                      <a:lnTo>
                        <a:pt x="775" y="371"/>
                      </a:lnTo>
                      <a:lnTo>
                        <a:pt x="777" y="383"/>
                      </a:lnTo>
                      <a:lnTo>
                        <a:pt x="800" y="391"/>
                      </a:lnTo>
                      <a:lnTo>
                        <a:pt x="816" y="389"/>
                      </a:lnTo>
                      <a:lnTo>
                        <a:pt x="818" y="396"/>
                      </a:lnTo>
                      <a:lnTo>
                        <a:pt x="808" y="407"/>
                      </a:lnTo>
                      <a:lnTo>
                        <a:pt x="772" y="440"/>
                      </a:lnTo>
                      <a:lnTo>
                        <a:pt x="751" y="456"/>
                      </a:lnTo>
                      <a:lnTo>
                        <a:pt x="739" y="476"/>
                      </a:lnTo>
                      <a:lnTo>
                        <a:pt x="736" y="494"/>
                      </a:lnTo>
                      <a:lnTo>
                        <a:pt x="733" y="512"/>
                      </a:lnTo>
                      <a:lnTo>
                        <a:pt x="736" y="541"/>
                      </a:lnTo>
                      <a:lnTo>
                        <a:pt x="736" y="569"/>
                      </a:lnTo>
                      <a:lnTo>
                        <a:pt x="733" y="587"/>
                      </a:lnTo>
                      <a:lnTo>
                        <a:pt x="723" y="610"/>
                      </a:lnTo>
                      <a:lnTo>
                        <a:pt x="715" y="623"/>
                      </a:lnTo>
                      <a:lnTo>
                        <a:pt x="713" y="641"/>
                      </a:lnTo>
                      <a:lnTo>
                        <a:pt x="710" y="662"/>
                      </a:lnTo>
                      <a:lnTo>
                        <a:pt x="697" y="687"/>
                      </a:lnTo>
                      <a:lnTo>
                        <a:pt x="687" y="710"/>
                      </a:lnTo>
                      <a:lnTo>
                        <a:pt x="672" y="726"/>
                      </a:lnTo>
                      <a:lnTo>
                        <a:pt x="656" y="741"/>
                      </a:lnTo>
                      <a:lnTo>
                        <a:pt x="661" y="757"/>
                      </a:lnTo>
                      <a:lnTo>
                        <a:pt x="661" y="777"/>
                      </a:lnTo>
                      <a:lnTo>
                        <a:pt x="643" y="793"/>
                      </a:lnTo>
                      <a:lnTo>
                        <a:pt x="620" y="793"/>
                      </a:lnTo>
                      <a:lnTo>
                        <a:pt x="607" y="811"/>
                      </a:lnTo>
                      <a:lnTo>
                        <a:pt x="594" y="808"/>
                      </a:lnTo>
                      <a:lnTo>
                        <a:pt x="566" y="803"/>
                      </a:lnTo>
                      <a:lnTo>
                        <a:pt x="545" y="803"/>
                      </a:lnTo>
                      <a:lnTo>
                        <a:pt x="533" y="826"/>
                      </a:lnTo>
                      <a:lnTo>
                        <a:pt x="509" y="831"/>
                      </a:lnTo>
                      <a:lnTo>
                        <a:pt x="494" y="819"/>
                      </a:lnTo>
                      <a:lnTo>
                        <a:pt x="509" y="803"/>
                      </a:lnTo>
                      <a:lnTo>
                        <a:pt x="530" y="793"/>
                      </a:lnTo>
                      <a:lnTo>
                        <a:pt x="530" y="775"/>
                      </a:lnTo>
                      <a:lnTo>
                        <a:pt x="522" y="759"/>
                      </a:lnTo>
                      <a:lnTo>
                        <a:pt x="517" y="744"/>
                      </a:lnTo>
                      <a:lnTo>
                        <a:pt x="494" y="746"/>
                      </a:lnTo>
                      <a:lnTo>
                        <a:pt x="473" y="728"/>
                      </a:lnTo>
                      <a:lnTo>
                        <a:pt x="458" y="718"/>
                      </a:lnTo>
                      <a:lnTo>
                        <a:pt x="450" y="703"/>
                      </a:lnTo>
                      <a:lnTo>
                        <a:pt x="445" y="687"/>
                      </a:lnTo>
                      <a:lnTo>
                        <a:pt x="414" y="674"/>
                      </a:lnTo>
                      <a:lnTo>
                        <a:pt x="391" y="667"/>
                      </a:lnTo>
                      <a:lnTo>
                        <a:pt x="373" y="656"/>
                      </a:lnTo>
                      <a:lnTo>
                        <a:pt x="388" y="641"/>
                      </a:lnTo>
                      <a:lnTo>
                        <a:pt x="383" y="625"/>
                      </a:lnTo>
                      <a:lnTo>
                        <a:pt x="373" y="610"/>
                      </a:lnTo>
                      <a:lnTo>
                        <a:pt x="345" y="597"/>
                      </a:lnTo>
                      <a:lnTo>
                        <a:pt x="324" y="597"/>
                      </a:lnTo>
                      <a:lnTo>
                        <a:pt x="296" y="613"/>
                      </a:lnTo>
                      <a:lnTo>
                        <a:pt x="288" y="597"/>
                      </a:lnTo>
                      <a:lnTo>
                        <a:pt x="291" y="577"/>
                      </a:lnTo>
                      <a:lnTo>
                        <a:pt x="303" y="553"/>
                      </a:lnTo>
                      <a:lnTo>
                        <a:pt x="306" y="533"/>
                      </a:lnTo>
                      <a:lnTo>
                        <a:pt x="309" y="515"/>
                      </a:lnTo>
                      <a:lnTo>
                        <a:pt x="301" y="499"/>
                      </a:lnTo>
                      <a:lnTo>
                        <a:pt x="291" y="476"/>
                      </a:lnTo>
                      <a:lnTo>
                        <a:pt x="280" y="456"/>
                      </a:lnTo>
                      <a:lnTo>
                        <a:pt x="272" y="440"/>
                      </a:lnTo>
                      <a:lnTo>
                        <a:pt x="257" y="430"/>
                      </a:lnTo>
                      <a:lnTo>
                        <a:pt x="236" y="412"/>
                      </a:lnTo>
                      <a:lnTo>
                        <a:pt x="229" y="396"/>
                      </a:lnTo>
                      <a:lnTo>
                        <a:pt x="221" y="376"/>
                      </a:lnTo>
                      <a:lnTo>
                        <a:pt x="213" y="360"/>
                      </a:lnTo>
                      <a:lnTo>
                        <a:pt x="216" y="340"/>
                      </a:lnTo>
                      <a:lnTo>
                        <a:pt x="218" y="322"/>
                      </a:lnTo>
                      <a:lnTo>
                        <a:pt x="208" y="299"/>
                      </a:lnTo>
                      <a:lnTo>
                        <a:pt x="206" y="270"/>
                      </a:lnTo>
                      <a:lnTo>
                        <a:pt x="195" y="250"/>
                      </a:lnTo>
                      <a:lnTo>
                        <a:pt x="188" y="229"/>
                      </a:lnTo>
                      <a:lnTo>
                        <a:pt x="180" y="211"/>
                      </a:lnTo>
                      <a:lnTo>
                        <a:pt x="159" y="193"/>
                      </a:lnTo>
                      <a:lnTo>
                        <a:pt x="136" y="167"/>
                      </a:lnTo>
                      <a:lnTo>
                        <a:pt x="121" y="157"/>
                      </a:lnTo>
                      <a:lnTo>
                        <a:pt x="97" y="152"/>
                      </a:lnTo>
                      <a:lnTo>
                        <a:pt x="95" y="152"/>
                      </a:lnTo>
                      <a:close/>
                    </a:path>
                  </a:pathLst>
                </a:custGeom>
                <a:solidFill>
                  <a:srgbClr val="B5C8E5"/>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33" name="Freeform 23">
                  <a:extLst>
                    <a:ext uri="{FF2B5EF4-FFF2-40B4-BE49-F238E27FC236}">
                      <a16:creationId xmlns:a16="http://schemas.microsoft.com/office/drawing/2014/main" id="{ADE7EEB1-8B5A-CD51-E279-750964D2B5E7}"/>
                    </a:ext>
                  </a:extLst>
                </p:cNvPr>
                <p:cNvSpPr>
                  <a:spLocks/>
                </p:cNvSpPr>
                <p:nvPr/>
              </p:nvSpPr>
              <p:spPr bwMode="auto">
                <a:xfrm>
                  <a:off x="3482711" y="2416512"/>
                  <a:ext cx="31224" cy="36901"/>
                </a:xfrm>
                <a:custGeom>
                  <a:avLst/>
                  <a:gdLst>
                    <a:gd name="T0" fmla="*/ 2147483646 w 44"/>
                    <a:gd name="T1" fmla="*/ 2147483646 h 52"/>
                    <a:gd name="T2" fmla="*/ 2147483646 w 44"/>
                    <a:gd name="T3" fmla="*/ 2147483646 h 52"/>
                    <a:gd name="T4" fmla="*/ 2147483646 w 44"/>
                    <a:gd name="T5" fmla="*/ 2147483646 h 52"/>
                    <a:gd name="T6" fmla="*/ 2147483646 w 44"/>
                    <a:gd name="T7" fmla="*/ 0 h 52"/>
                    <a:gd name="T8" fmla="*/ 2147483646 w 44"/>
                    <a:gd name="T9" fmla="*/ 2147483646 h 52"/>
                    <a:gd name="T10" fmla="*/ 2147483646 w 44"/>
                    <a:gd name="T11" fmla="*/ 2147483646 h 52"/>
                    <a:gd name="T12" fmla="*/ 2147483646 w 44"/>
                    <a:gd name="T13" fmla="*/ 2147483646 h 52"/>
                    <a:gd name="T14" fmla="*/ 2147483646 w 44"/>
                    <a:gd name="T15" fmla="*/ 2147483646 h 52"/>
                    <a:gd name="T16" fmla="*/ 2147483646 w 44"/>
                    <a:gd name="T17" fmla="*/ 2147483646 h 52"/>
                    <a:gd name="T18" fmla="*/ 2147483646 w 44"/>
                    <a:gd name="T19" fmla="*/ 2147483646 h 52"/>
                    <a:gd name="T20" fmla="*/ 2147483646 w 44"/>
                    <a:gd name="T21" fmla="*/ 2147483646 h 52"/>
                    <a:gd name="T22" fmla="*/ 0 w 44"/>
                    <a:gd name="T23" fmla="*/ 2147483646 h 52"/>
                    <a:gd name="T24" fmla="*/ 2147483646 w 44"/>
                    <a:gd name="T25" fmla="*/ 2147483646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4" h="52">
                      <a:moveTo>
                        <a:pt x="3" y="16"/>
                      </a:moveTo>
                      <a:lnTo>
                        <a:pt x="8" y="10"/>
                      </a:lnTo>
                      <a:lnTo>
                        <a:pt x="23" y="3"/>
                      </a:lnTo>
                      <a:lnTo>
                        <a:pt x="39" y="0"/>
                      </a:lnTo>
                      <a:lnTo>
                        <a:pt x="44" y="13"/>
                      </a:lnTo>
                      <a:lnTo>
                        <a:pt x="44" y="31"/>
                      </a:lnTo>
                      <a:lnTo>
                        <a:pt x="39" y="46"/>
                      </a:lnTo>
                      <a:lnTo>
                        <a:pt x="31" y="52"/>
                      </a:lnTo>
                      <a:lnTo>
                        <a:pt x="13" y="49"/>
                      </a:lnTo>
                      <a:lnTo>
                        <a:pt x="5" y="36"/>
                      </a:lnTo>
                      <a:lnTo>
                        <a:pt x="0" y="16"/>
                      </a:lnTo>
                      <a:lnTo>
                        <a:pt x="3" y="16"/>
                      </a:lnTo>
                      <a:close/>
                    </a:path>
                  </a:pathLst>
                </a:custGeom>
                <a:noFill/>
                <a:ln>
                  <a:noFill/>
                </a:ln>
                <a:extLst>
                  <a:ext uri="{91240B29-F687-4F45-9708-019B960494DF}">
                    <a14:hiddenLine xmlns:a14="http://schemas.microsoft.com/office/drawing/2010/main" w="3175">
                      <a:solidFill>
                        <a:srgbClr val="000000"/>
                      </a:solidFill>
                      <a:round/>
                      <a:headEnd/>
                      <a:tailEnd/>
                    </a14:hiddenLine>
                  </a:ext>
                </a:extLst>
              </p:spPr>
              <p:txBody>
                <a:bodyPr/>
                <a:lstStyle/>
                <a:p>
                  <a:pPr defTabSz="914377"/>
                  <a:endParaRPr lang="it-IT" dirty="0">
                    <a:latin typeface="Univers Condensed" panose="020B0506020202050204" pitchFamily="34" charset="0"/>
                  </a:endParaRPr>
                </a:p>
              </p:txBody>
            </p:sp>
            <p:sp>
              <p:nvSpPr>
                <p:cNvPr id="34" name="Freeform 25">
                  <a:extLst>
                    <a:ext uri="{FF2B5EF4-FFF2-40B4-BE49-F238E27FC236}">
                      <a16:creationId xmlns:a16="http://schemas.microsoft.com/office/drawing/2014/main" id="{89336352-F03F-4C5E-FEF0-C373B161543E}"/>
                    </a:ext>
                  </a:extLst>
                </p:cNvPr>
                <p:cNvSpPr>
                  <a:spLocks/>
                </p:cNvSpPr>
                <p:nvPr/>
              </p:nvSpPr>
              <p:spPr bwMode="auto">
                <a:xfrm>
                  <a:off x="3431617" y="2423609"/>
                  <a:ext cx="407333" cy="358368"/>
                </a:xfrm>
                <a:custGeom>
                  <a:avLst/>
                  <a:gdLst>
                    <a:gd name="T0" fmla="*/ 2147483646 w 574"/>
                    <a:gd name="T1" fmla="*/ 2147483646 h 505"/>
                    <a:gd name="T2" fmla="*/ 2147483646 w 574"/>
                    <a:gd name="T3" fmla="*/ 2147483646 h 505"/>
                    <a:gd name="T4" fmla="*/ 2147483646 w 574"/>
                    <a:gd name="T5" fmla="*/ 2147483646 h 505"/>
                    <a:gd name="T6" fmla="*/ 0 w 574"/>
                    <a:gd name="T7" fmla="*/ 2147483646 h 505"/>
                    <a:gd name="T8" fmla="*/ 2147483646 w 574"/>
                    <a:gd name="T9" fmla="*/ 2147483646 h 505"/>
                    <a:gd name="T10" fmla="*/ 2147483646 w 574"/>
                    <a:gd name="T11" fmla="*/ 2147483646 h 505"/>
                    <a:gd name="T12" fmla="*/ 2147483646 w 574"/>
                    <a:gd name="T13" fmla="*/ 2147483646 h 505"/>
                    <a:gd name="T14" fmla="*/ 2147483646 w 574"/>
                    <a:gd name="T15" fmla="*/ 2147483646 h 505"/>
                    <a:gd name="T16" fmla="*/ 2147483646 w 574"/>
                    <a:gd name="T17" fmla="*/ 2147483646 h 505"/>
                    <a:gd name="T18" fmla="*/ 2147483646 w 574"/>
                    <a:gd name="T19" fmla="*/ 2147483646 h 505"/>
                    <a:gd name="T20" fmla="*/ 2147483646 w 574"/>
                    <a:gd name="T21" fmla="*/ 2147483646 h 505"/>
                    <a:gd name="T22" fmla="*/ 2147483646 w 574"/>
                    <a:gd name="T23" fmla="*/ 2147483646 h 505"/>
                    <a:gd name="T24" fmla="*/ 2147483646 w 574"/>
                    <a:gd name="T25" fmla="*/ 2147483646 h 505"/>
                    <a:gd name="T26" fmla="*/ 2147483646 w 574"/>
                    <a:gd name="T27" fmla="*/ 2147483646 h 505"/>
                    <a:gd name="T28" fmla="*/ 2147483646 w 574"/>
                    <a:gd name="T29" fmla="*/ 2147483646 h 505"/>
                    <a:gd name="T30" fmla="*/ 2147483646 w 574"/>
                    <a:gd name="T31" fmla="*/ 2147483646 h 505"/>
                    <a:gd name="T32" fmla="*/ 2147483646 w 574"/>
                    <a:gd name="T33" fmla="*/ 2147483646 h 505"/>
                    <a:gd name="T34" fmla="*/ 2147483646 w 574"/>
                    <a:gd name="T35" fmla="*/ 2147483646 h 505"/>
                    <a:gd name="T36" fmla="*/ 2147483646 w 574"/>
                    <a:gd name="T37" fmla="*/ 2147483646 h 505"/>
                    <a:gd name="T38" fmla="*/ 2147483646 w 574"/>
                    <a:gd name="T39" fmla="*/ 2147483646 h 505"/>
                    <a:gd name="T40" fmla="*/ 2147483646 w 574"/>
                    <a:gd name="T41" fmla="*/ 2147483646 h 505"/>
                    <a:gd name="T42" fmla="*/ 2147483646 w 574"/>
                    <a:gd name="T43" fmla="*/ 2147483646 h 505"/>
                    <a:gd name="T44" fmla="*/ 2147483646 w 574"/>
                    <a:gd name="T45" fmla="*/ 2147483646 h 505"/>
                    <a:gd name="T46" fmla="*/ 2147483646 w 574"/>
                    <a:gd name="T47" fmla="*/ 2147483646 h 505"/>
                    <a:gd name="T48" fmla="*/ 2147483646 w 574"/>
                    <a:gd name="T49" fmla="*/ 2147483646 h 505"/>
                    <a:gd name="T50" fmla="*/ 2147483646 w 574"/>
                    <a:gd name="T51" fmla="*/ 2147483646 h 505"/>
                    <a:gd name="T52" fmla="*/ 2147483646 w 574"/>
                    <a:gd name="T53" fmla="*/ 2147483646 h 505"/>
                    <a:gd name="T54" fmla="*/ 2147483646 w 574"/>
                    <a:gd name="T55" fmla="*/ 2147483646 h 505"/>
                    <a:gd name="T56" fmla="*/ 2147483646 w 574"/>
                    <a:gd name="T57" fmla="*/ 2147483646 h 505"/>
                    <a:gd name="T58" fmla="*/ 2147483646 w 574"/>
                    <a:gd name="T59" fmla="*/ 2147483646 h 505"/>
                    <a:gd name="T60" fmla="*/ 2147483646 w 574"/>
                    <a:gd name="T61" fmla="*/ 2147483646 h 505"/>
                    <a:gd name="T62" fmla="*/ 2147483646 w 574"/>
                    <a:gd name="T63" fmla="*/ 2147483646 h 505"/>
                    <a:gd name="T64" fmla="*/ 2147483646 w 574"/>
                    <a:gd name="T65" fmla="*/ 2147483646 h 505"/>
                    <a:gd name="T66" fmla="*/ 2147483646 w 574"/>
                    <a:gd name="T67" fmla="*/ 2147483646 h 505"/>
                    <a:gd name="T68" fmla="*/ 2147483646 w 574"/>
                    <a:gd name="T69" fmla="*/ 2147483646 h 505"/>
                    <a:gd name="T70" fmla="*/ 2147483646 w 574"/>
                    <a:gd name="T71" fmla="*/ 2147483646 h 505"/>
                    <a:gd name="T72" fmla="*/ 2147483646 w 574"/>
                    <a:gd name="T73" fmla="*/ 2147483646 h 505"/>
                    <a:gd name="T74" fmla="*/ 2147483646 w 574"/>
                    <a:gd name="T75" fmla="*/ 2147483646 h 505"/>
                    <a:gd name="T76" fmla="*/ 2147483646 w 574"/>
                    <a:gd name="T77" fmla="*/ 2147483646 h 505"/>
                    <a:gd name="T78" fmla="*/ 2147483646 w 574"/>
                    <a:gd name="T79" fmla="*/ 2147483646 h 505"/>
                    <a:gd name="T80" fmla="*/ 2147483646 w 574"/>
                    <a:gd name="T81" fmla="*/ 2147483646 h 505"/>
                    <a:gd name="T82" fmla="*/ 2147483646 w 574"/>
                    <a:gd name="T83" fmla="*/ 2147483646 h 505"/>
                    <a:gd name="T84" fmla="*/ 2147483646 w 574"/>
                    <a:gd name="T85" fmla="*/ 2147483646 h 505"/>
                    <a:gd name="T86" fmla="*/ 2147483646 w 574"/>
                    <a:gd name="T87" fmla="*/ 0 h 505"/>
                    <a:gd name="T88" fmla="*/ 2147483646 w 574"/>
                    <a:gd name="T89" fmla="*/ 2147483646 h 505"/>
                    <a:gd name="T90" fmla="*/ 2147483646 w 574"/>
                    <a:gd name="T91" fmla="*/ 2147483646 h 505"/>
                    <a:gd name="T92" fmla="*/ 2147483646 w 574"/>
                    <a:gd name="T93" fmla="*/ 2147483646 h 505"/>
                    <a:gd name="T94" fmla="*/ 2147483646 w 574"/>
                    <a:gd name="T95" fmla="*/ 2147483646 h 505"/>
                    <a:gd name="T96" fmla="*/ 2147483646 w 574"/>
                    <a:gd name="T97" fmla="*/ 2147483646 h 505"/>
                    <a:gd name="T98" fmla="*/ 2147483646 w 574"/>
                    <a:gd name="T99" fmla="*/ 2147483646 h 505"/>
                    <a:gd name="T100" fmla="*/ 2147483646 w 574"/>
                    <a:gd name="T101" fmla="*/ 2147483646 h 50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74" h="505">
                      <a:moveTo>
                        <a:pt x="70" y="8"/>
                      </a:moveTo>
                      <a:lnTo>
                        <a:pt x="54" y="26"/>
                      </a:lnTo>
                      <a:lnTo>
                        <a:pt x="44" y="31"/>
                      </a:lnTo>
                      <a:lnTo>
                        <a:pt x="26" y="39"/>
                      </a:lnTo>
                      <a:lnTo>
                        <a:pt x="8" y="47"/>
                      </a:lnTo>
                      <a:lnTo>
                        <a:pt x="5" y="67"/>
                      </a:lnTo>
                      <a:lnTo>
                        <a:pt x="0" y="88"/>
                      </a:lnTo>
                      <a:lnTo>
                        <a:pt x="8" y="103"/>
                      </a:lnTo>
                      <a:lnTo>
                        <a:pt x="31" y="103"/>
                      </a:lnTo>
                      <a:lnTo>
                        <a:pt x="39" y="106"/>
                      </a:lnTo>
                      <a:lnTo>
                        <a:pt x="44" y="119"/>
                      </a:lnTo>
                      <a:lnTo>
                        <a:pt x="44" y="124"/>
                      </a:lnTo>
                      <a:lnTo>
                        <a:pt x="41" y="124"/>
                      </a:lnTo>
                      <a:lnTo>
                        <a:pt x="23" y="119"/>
                      </a:lnTo>
                      <a:lnTo>
                        <a:pt x="18" y="124"/>
                      </a:lnTo>
                      <a:lnTo>
                        <a:pt x="16" y="145"/>
                      </a:lnTo>
                      <a:lnTo>
                        <a:pt x="26" y="155"/>
                      </a:lnTo>
                      <a:lnTo>
                        <a:pt x="41" y="165"/>
                      </a:lnTo>
                      <a:lnTo>
                        <a:pt x="39" y="165"/>
                      </a:lnTo>
                      <a:lnTo>
                        <a:pt x="62" y="160"/>
                      </a:lnTo>
                      <a:lnTo>
                        <a:pt x="62" y="183"/>
                      </a:lnTo>
                      <a:lnTo>
                        <a:pt x="67" y="199"/>
                      </a:lnTo>
                      <a:lnTo>
                        <a:pt x="75" y="204"/>
                      </a:lnTo>
                      <a:lnTo>
                        <a:pt x="93" y="201"/>
                      </a:lnTo>
                      <a:lnTo>
                        <a:pt x="108" y="194"/>
                      </a:lnTo>
                      <a:lnTo>
                        <a:pt x="124" y="194"/>
                      </a:lnTo>
                      <a:lnTo>
                        <a:pt x="155" y="217"/>
                      </a:lnTo>
                      <a:lnTo>
                        <a:pt x="165" y="227"/>
                      </a:lnTo>
                      <a:lnTo>
                        <a:pt x="178" y="227"/>
                      </a:lnTo>
                      <a:lnTo>
                        <a:pt x="198" y="222"/>
                      </a:lnTo>
                      <a:lnTo>
                        <a:pt x="214" y="222"/>
                      </a:lnTo>
                      <a:lnTo>
                        <a:pt x="219" y="227"/>
                      </a:lnTo>
                      <a:lnTo>
                        <a:pt x="219" y="235"/>
                      </a:lnTo>
                      <a:lnTo>
                        <a:pt x="214" y="250"/>
                      </a:lnTo>
                      <a:lnTo>
                        <a:pt x="211" y="253"/>
                      </a:lnTo>
                      <a:lnTo>
                        <a:pt x="227" y="271"/>
                      </a:lnTo>
                      <a:lnTo>
                        <a:pt x="240" y="294"/>
                      </a:lnTo>
                      <a:lnTo>
                        <a:pt x="242" y="320"/>
                      </a:lnTo>
                      <a:lnTo>
                        <a:pt x="247" y="345"/>
                      </a:lnTo>
                      <a:lnTo>
                        <a:pt x="255" y="363"/>
                      </a:lnTo>
                      <a:lnTo>
                        <a:pt x="258" y="381"/>
                      </a:lnTo>
                      <a:lnTo>
                        <a:pt x="263" y="399"/>
                      </a:lnTo>
                      <a:lnTo>
                        <a:pt x="273" y="412"/>
                      </a:lnTo>
                      <a:lnTo>
                        <a:pt x="278" y="436"/>
                      </a:lnTo>
                      <a:lnTo>
                        <a:pt x="291" y="443"/>
                      </a:lnTo>
                      <a:lnTo>
                        <a:pt x="314" y="443"/>
                      </a:lnTo>
                      <a:lnTo>
                        <a:pt x="332" y="464"/>
                      </a:lnTo>
                      <a:lnTo>
                        <a:pt x="361" y="459"/>
                      </a:lnTo>
                      <a:lnTo>
                        <a:pt x="368" y="456"/>
                      </a:lnTo>
                      <a:lnTo>
                        <a:pt x="376" y="474"/>
                      </a:lnTo>
                      <a:lnTo>
                        <a:pt x="373" y="492"/>
                      </a:lnTo>
                      <a:lnTo>
                        <a:pt x="394" y="492"/>
                      </a:lnTo>
                      <a:lnTo>
                        <a:pt x="410" y="502"/>
                      </a:lnTo>
                      <a:lnTo>
                        <a:pt x="425" y="505"/>
                      </a:lnTo>
                      <a:lnTo>
                        <a:pt x="440" y="490"/>
                      </a:lnTo>
                      <a:lnTo>
                        <a:pt x="464" y="487"/>
                      </a:lnTo>
                      <a:lnTo>
                        <a:pt x="466" y="469"/>
                      </a:lnTo>
                      <a:lnTo>
                        <a:pt x="484" y="459"/>
                      </a:lnTo>
                      <a:lnTo>
                        <a:pt x="507" y="459"/>
                      </a:lnTo>
                      <a:lnTo>
                        <a:pt x="523" y="441"/>
                      </a:lnTo>
                      <a:lnTo>
                        <a:pt x="541" y="433"/>
                      </a:lnTo>
                      <a:lnTo>
                        <a:pt x="554" y="410"/>
                      </a:lnTo>
                      <a:lnTo>
                        <a:pt x="574" y="399"/>
                      </a:lnTo>
                      <a:lnTo>
                        <a:pt x="572" y="374"/>
                      </a:lnTo>
                      <a:lnTo>
                        <a:pt x="564" y="358"/>
                      </a:lnTo>
                      <a:lnTo>
                        <a:pt x="551" y="327"/>
                      </a:lnTo>
                      <a:lnTo>
                        <a:pt x="528" y="304"/>
                      </a:lnTo>
                      <a:lnTo>
                        <a:pt x="523" y="286"/>
                      </a:lnTo>
                      <a:lnTo>
                        <a:pt x="510" y="266"/>
                      </a:lnTo>
                      <a:lnTo>
                        <a:pt x="500" y="242"/>
                      </a:lnTo>
                      <a:lnTo>
                        <a:pt x="487" y="212"/>
                      </a:lnTo>
                      <a:lnTo>
                        <a:pt x="466" y="196"/>
                      </a:lnTo>
                      <a:lnTo>
                        <a:pt x="453" y="165"/>
                      </a:lnTo>
                      <a:lnTo>
                        <a:pt x="433" y="147"/>
                      </a:lnTo>
                      <a:lnTo>
                        <a:pt x="399" y="127"/>
                      </a:lnTo>
                      <a:lnTo>
                        <a:pt x="384" y="114"/>
                      </a:lnTo>
                      <a:lnTo>
                        <a:pt x="350" y="93"/>
                      </a:lnTo>
                      <a:lnTo>
                        <a:pt x="325" y="91"/>
                      </a:lnTo>
                      <a:lnTo>
                        <a:pt x="296" y="75"/>
                      </a:lnTo>
                      <a:lnTo>
                        <a:pt x="263" y="54"/>
                      </a:lnTo>
                      <a:lnTo>
                        <a:pt x="242" y="36"/>
                      </a:lnTo>
                      <a:lnTo>
                        <a:pt x="222" y="18"/>
                      </a:lnTo>
                      <a:lnTo>
                        <a:pt x="196" y="13"/>
                      </a:lnTo>
                      <a:lnTo>
                        <a:pt x="180" y="0"/>
                      </a:lnTo>
                      <a:lnTo>
                        <a:pt x="178" y="3"/>
                      </a:lnTo>
                      <a:lnTo>
                        <a:pt x="180" y="18"/>
                      </a:lnTo>
                      <a:lnTo>
                        <a:pt x="178" y="36"/>
                      </a:lnTo>
                      <a:lnTo>
                        <a:pt x="170" y="52"/>
                      </a:lnTo>
                      <a:lnTo>
                        <a:pt x="152" y="60"/>
                      </a:lnTo>
                      <a:lnTo>
                        <a:pt x="137" y="57"/>
                      </a:lnTo>
                      <a:lnTo>
                        <a:pt x="129" y="47"/>
                      </a:lnTo>
                      <a:lnTo>
                        <a:pt x="121" y="47"/>
                      </a:lnTo>
                      <a:lnTo>
                        <a:pt x="113" y="36"/>
                      </a:lnTo>
                      <a:lnTo>
                        <a:pt x="103" y="42"/>
                      </a:lnTo>
                      <a:lnTo>
                        <a:pt x="85" y="39"/>
                      </a:lnTo>
                      <a:lnTo>
                        <a:pt x="77" y="26"/>
                      </a:lnTo>
                      <a:lnTo>
                        <a:pt x="72" y="6"/>
                      </a:lnTo>
                      <a:lnTo>
                        <a:pt x="70" y="8"/>
                      </a:lnTo>
                      <a:close/>
                    </a:path>
                  </a:pathLst>
                </a:custGeom>
                <a:solidFill>
                  <a:srgbClr val="B5C8E5"/>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35" name="Freeform 26">
                  <a:extLst>
                    <a:ext uri="{FF2B5EF4-FFF2-40B4-BE49-F238E27FC236}">
                      <a16:creationId xmlns:a16="http://schemas.microsoft.com/office/drawing/2014/main" id="{441A8B19-68D8-EB0E-F35F-6BE3D3EBC8CF}"/>
                    </a:ext>
                  </a:extLst>
                </p:cNvPr>
                <p:cNvSpPr>
                  <a:spLocks/>
                </p:cNvSpPr>
                <p:nvPr/>
              </p:nvSpPr>
              <p:spPr bwMode="auto">
                <a:xfrm>
                  <a:off x="3406070" y="2537151"/>
                  <a:ext cx="292371" cy="352691"/>
                </a:xfrm>
                <a:custGeom>
                  <a:avLst/>
                  <a:gdLst>
                    <a:gd name="T0" fmla="*/ 2147483646 w 412"/>
                    <a:gd name="T1" fmla="*/ 2147483646 h 497"/>
                    <a:gd name="T2" fmla="*/ 2147483646 w 412"/>
                    <a:gd name="T3" fmla="*/ 2147483646 h 497"/>
                    <a:gd name="T4" fmla="*/ 2147483646 w 412"/>
                    <a:gd name="T5" fmla="*/ 2147483646 h 497"/>
                    <a:gd name="T6" fmla="*/ 2147483646 w 412"/>
                    <a:gd name="T7" fmla="*/ 2147483646 h 497"/>
                    <a:gd name="T8" fmla="*/ 2147483646 w 412"/>
                    <a:gd name="T9" fmla="*/ 2147483646 h 497"/>
                    <a:gd name="T10" fmla="*/ 2147483646 w 412"/>
                    <a:gd name="T11" fmla="*/ 2147483646 h 497"/>
                    <a:gd name="T12" fmla="*/ 2147483646 w 412"/>
                    <a:gd name="T13" fmla="*/ 2147483646 h 497"/>
                    <a:gd name="T14" fmla="*/ 2147483646 w 412"/>
                    <a:gd name="T15" fmla="*/ 2147483646 h 497"/>
                    <a:gd name="T16" fmla="*/ 2147483646 w 412"/>
                    <a:gd name="T17" fmla="*/ 2147483646 h 497"/>
                    <a:gd name="T18" fmla="*/ 0 w 412"/>
                    <a:gd name="T19" fmla="*/ 2147483646 h 497"/>
                    <a:gd name="T20" fmla="*/ 0 w 412"/>
                    <a:gd name="T21" fmla="*/ 2147483646 h 497"/>
                    <a:gd name="T22" fmla="*/ 2147483646 w 412"/>
                    <a:gd name="T23" fmla="*/ 2147483646 h 497"/>
                    <a:gd name="T24" fmla="*/ 2147483646 w 412"/>
                    <a:gd name="T25" fmla="*/ 2147483646 h 497"/>
                    <a:gd name="T26" fmla="*/ 2147483646 w 412"/>
                    <a:gd name="T27" fmla="*/ 2147483646 h 497"/>
                    <a:gd name="T28" fmla="*/ 2147483646 w 412"/>
                    <a:gd name="T29" fmla="*/ 2147483646 h 497"/>
                    <a:gd name="T30" fmla="*/ 2147483646 w 412"/>
                    <a:gd name="T31" fmla="*/ 2147483646 h 497"/>
                    <a:gd name="T32" fmla="*/ 2147483646 w 412"/>
                    <a:gd name="T33" fmla="*/ 2147483646 h 497"/>
                    <a:gd name="T34" fmla="*/ 2147483646 w 412"/>
                    <a:gd name="T35" fmla="*/ 2147483646 h 497"/>
                    <a:gd name="T36" fmla="*/ 2147483646 w 412"/>
                    <a:gd name="T37" fmla="*/ 2147483646 h 497"/>
                    <a:gd name="T38" fmla="*/ 2147483646 w 412"/>
                    <a:gd name="T39" fmla="*/ 2147483646 h 497"/>
                    <a:gd name="T40" fmla="*/ 2147483646 w 412"/>
                    <a:gd name="T41" fmla="*/ 2147483646 h 497"/>
                    <a:gd name="T42" fmla="*/ 2147483646 w 412"/>
                    <a:gd name="T43" fmla="*/ 2147483646 h 497"/>
                    <a:gd name="T44" fmla="*/ 2147483646 w 412"/>
                    <a:gd name="T45" fmla="*/ 2147483646 h 497"/>
                    <a:gd name="T46" fmla="*/ 2147483646 w 412"/>
                    <a:gd name="T47" fmla="*/ 2147483646 h 497"/>
                    <a:gd name="T48" fmla="*/ 2147483646 w 412"/>
                    <a:gd name="T49" fmla="*/ 2147483646 h 497"/>
                    <a:gd name="T50" fmla="*/ 2147483646 w 412"/>
                    <a:gd name="T51" fmla="*/ 2147483646 h 497"/>
                    <a:gd name="T52" fmla="*/ 2147483646 w 412"/>
                    <a:gd name="T53" fmla="*/ 2147483646 h 497"/>
                    <a:gd name="T54" fmla="*/ 2147483646 w 412"/>
                    <a:gd name="T55" fmla="*/ 2147483646 h 497"/>
                    <a:gd name="T56" fmla="*/ 2147483646 w 412"/>
                    <a:gd name="T57" fmla="*/ 2147483646 h 497"/>
                    <a:gd name="T58" fmla="*/ 2147483646 w 412"/>
                    <a:gd name="T59" fmla="*/ 2147483646 h 497"/>
                    <a:gd name="T60" fmla="*/ 2147483646 w 412"/>
                    <a:gd name="T61" fmla="*/ 2147483646 h 497"/>
                    <a:gd name="T62" fmla="*/ 2147483646 w 412"/>
                    <a:gd name="T63" fmla="*/ 2147483646 h 497"/>
                    <a:gd name="T64" fmla="*/ 2147483646 w 412"/>
                    <a:gd name="T65" fmla="*/ 2147483646 h 497"/>
                    <a:gd name="T66" fmla="*/ 2147483646 w 412"/>
                    <a:gd name="T67" fmla="*/ 2147483646 h 497"/>
                    <a:gd name="T68" fmla="*/ 2147483646 w 412"/>
                    <a:gd name="T69" fmla="*/ 2147483646 h 497"/>
                    <a:gd name="T70" fmla="*/ 2147483646 w 412"/>
                    <a:gd name="T71" fmla="*/ 2147483646 h 497"/>
                    <a:gd name="T72" fmla="*/ 2147483646 w 412"/>
                    <a:gd name="T73" fmla="*/ 2147483646 h 497"/>
                    <a:gd name="T74" fmla="*/ 2147483646 w 412"/>
                    <a:gd name="T75" fmla="*/ 2147483646 h 497"/>
                    <a:gd name="T76" fmla="*/ 2147483646 w 412"/>
                    <a:gd name="T77" fmla="*/ 2147483646 h 497"/>
                    <a:gd name="T78" fmla="*/ 2147483646 w 412"/>
                    <a:gd name="T79" fmla="*/ 2147483646 h 497"/>
                    <a:gd name="T80" fmla="*/ 2147483646 w 412"/>
                    <a:gd name="T81" fmla="*/ 2147483646 h 497"/>
                    <a:gd name="T82" fmla="*/ 2147483646 w 412"/>
                    <a:gd name="T83" fmla="*/ 2147483646 h 49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12" h="497">
                      <a:moveTo>
                        <a:pt x="75" y="8"/>
                      </a:moveTo>
                      <a:lnTo>
                        <a:pt x="64" y="34"/>
                      </a:lnTo>
                      <a:lnTo>
                        <a:pt x="46" y="49"/>
                      </a:lnTo>
                      <a:lnTo>
                        <a:pt x="44" y="67"/>
                      </a:lnTo>
                      <a:lnTo>
                        <a:pt x="49" y="88"/>
                      </a:lnTo>
                      <a:lnTo>
                        <a:pt x="52" y="106"/>
                      </a:lnTo>
                      <a:lnTo>
                        <a:pt x="54" y="116"/>
                      </a:lnTo>
                      <a:lnTo>
                        <a:pt x="77" y="126"/>
                      </a:lnTo>
                      <a:lnTo>
                        <a:pt x="93" y="121"/>
                      </a:lnTo>
                      <a:lnTo>
                        <a:pt x="95" y="131"/>
                      </a:lnTo>
                      <a:lnTo>
                        <a:pt x="85" y="142"/>
                      </a:lnTo>
                      <a:lnTo>
                        <a:pt x="49" y="175"/>
                      </a:lnTo>
                      <a:lnTo>
                        <a:pt x="28" y="188"/>
                      </a:lnTo>
                      <a:lnTo>
                        <a:pt x="16" y="209"/>
                      </a:lnTo>
                      <a:lnTo>
                        <a:pt x="13" y="229"/>
                      </a:lnTo>
                      <a:lnTo>
                        <a:pt x="10" y="247"/>
                      </a:lnTo>
                      <a:lnTo>
                        <a:pt x="13" y="276"/>
                      </a:lnTo>
                      <a:lnTo>
                        <a:pt x="13" y="304"/>
                      </a:lnTo>
                      <a:lnTo>
                        <a:pt x="10" y="322"/>
                      </a:lnTo>
                      <a:lnTo>
                        <a:pt x="0" y="345"/>
                      </a:lnTo>
                      <a:lnTo>
                        <a:pt x="21" y="342"/>
                      </a:lnTo>
                      <a:lnTo>
                        <a:pt x="28" y="358"/>
                      </a:lnTo>
                      <a:lnTo>
                        <a:pt x="26" y="376"/>
                      </a:lnTo>
                      <a:lnTo>
                        <a:pt x="34" y="391"/>
                      </a:lnTo>
                      <a:lnTo>
                        <a:pt x="41" y="407"/>
                      </a:lnTo>
                      <a:lnTo>
                        <a:pt x="62" y="404"/>
                      </a:lnTo>
                      <a:lnTo>
                        <a:pt x="82" y="397"/>
                      </a:lnTo>
                      <a:lnTo>
                        <a:pt x="98" y="407"/>
                      </a:lnTo>
                      <a:lnTo>
                        <a:pt x="119" y="425"/>
                      </a:lnTo>
                      <a:lnTo>
                        <a:pt x="134" y="435"/>
                      </a:lnTo>
                      <a:lnTo>
                        <a:pt x="142" y="451"/>
                      </a:lnTo>
                      <a:lnTo>
                        <a:pt x="147" y="466"/>
                      </a:lnTo>
                      <a:lnTo>
                        <a:pt x="173" y="469"/>
                      </a:lnTo>
                      <a:lnTo>
                        <a:pt x="180" y="487"/>
                      </a:lnTo>
                      <a:lnTo>
                        <a:pt x="196" y="497"/>
                      </a:lnTo>
                      <a:lnTo>
                        <a:pt x="229" y="492"/>
                      </a:lnTo>
                      <a:lnTo>
                        <a:pt x="247" y="481"/>
                      </a:lnTo>
                      <a:lnTo>
                        <a:pt x="263" y="466"/>
                      </a:lnTo>
                      <a:lnTo>
                        <a:pt x="278" y="448"/>
                      </a:lnTo>
                      <a:lnTo>
                        <a:pt x="294" y="433"/>
                      </a:lnTo>
                      <a:lnTo>
                        <a:pt x="309" y="417"/>
                      </a:lnTo>
                      <a:lnTo>
                        <a:pt x="325" y="399"/>
                      </a:lnTo>
                      <a:lnTo>
                        <a:pt x="348" y="397"/>
                      </a:lnTo>
                      <a:lnTo>
                        <a:pt x="363" y="381"/>
                      </a:lnTo>
                      <a:lnTo>
                        <a:pt x="384" y="378"/>
                      </a:lnTo>
                      <a:lnTo>
                        <a:pt x="399" y="358"/>
                      </a:lnTo>
                      <a:lnTo>
                        <a:pt x="409" y="332"/>
                      </a:lnTo>
                      <a:lnTo>
                        <a:pt x="412" y="314"/>
                      </a:lnTo>
                      <a:lnTo>
                        <a:pt x="404" y="296"/>
                      </a:lnTo>
                      <a:lnTo>
                        <a:pt x="397" y="299"/>
                      </a:lnTo>
                      <a:lnTo>
                        <a:pt x="368" y="304"/>
                      </a:lnTo>
                      <a:lnTo>
                        <a:pt x="350" y="283"/>
                      </a:lnTo>
                      <a:lnTo>
                        <a:pt x="327" y="283"/>
                      </a:lnTo>
                      <a:lnTo>
                        <a:pt x="314" y="276"/>
                      </a:lnTo>
                      <a:lnTo>
                        <a:pt x="309" y="252"/>
                      </a:lnTo>
                      <a:lnTo>
                        <a:pt x="299" y="237"/>
                      </a:lnTo>
                      <a:lnTo>
                        <a:pt x="294" y="221"/>
                      </a:lnTo>
                      <a:lnTo>
                        <a:pt x="291" y="203"/>
                      </a:lnTo>
                      <a:lnTo>
                        <a:pt x="283" y="183"/>
                      </a:lnTo>
                      <a:lnTo>
                        <a:pt x="278" y="157"/>
                      </a:lnTo>
                      <a:lnTo>
                        <a:pt x="276" y="134"/>
                      </a:lnTo>
                      <a:lnTo>
                        <a:pt x="263" y="111"/>
                      </a:lnTo>
                      <a:lnTo>
                        <a:pt x="247" y="93"/>
                      </a:lnTo>
                      <a:lnTo>
                        <a:pt x="250" y="90"/>
                      </a:lnTo>
                      <a:lnTo>
                        <a:pt x="255" y="75"/>
                      </a:lnTo>
                      <a:lnTo>
                        <a:pt x="255" y="67"/>
                      </a:lnTo>
                      <a:lnTo>
                        <a:pt x="250" y="62"/>
                      </a:lnTo>
                      <a:lnTo>
                        <a:pt x="234" y="62"/>
                      </a:lnTo>
                      <a:lnTo>
                        <a:pt x="214" y="67"/>
                      </a:lnTo>
                      <a:lnTo>
                        <a:pt x="201" y="64"/>
                      </a:lnTo>
                      <a:lnTo>
                        <a:pt x="191" y="57"/>
                      </a:lnTo>
                      <a:lnTo>
                        <a:pt x="160" y="34"/>
                      </a:lnTo>
                      <a:lnTo>
                        <a:pt x="144" y="34"/>
                      </a:lnTo>
                      <a:lnTo>
                        <a:pt x="129" y="41"/>
                      </a:lnTo>
                      <a:lnTo>
                        <a:pt x="111" y="44"/>
                      </a:lnTo>
                      <a:lnTo>
                        <a:pt x="103" y="39"/>
                      </a:lnTo>
                      <a:lnTo>
                        <a:pt x="98" y="23"/>
                      </a:lnTo>
                      <a:lnTo>
                        <a:pt x="98" y="0"/>
                      </a:lnTo>
                      <a:lnTo>
                        <a:pt x="75" y="5"/>
                      </a:lnTo>
                      <a:lnTo>
                        <a:pt x="75" y="8"/>
                      </a:lnTo>
                      <a:close/>
                    </a:path>
                  </a:pathLst>
                </a:custGeom>
                <a:solidFill>
                  <a:srgbClr val="B5C8E5"/>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36" name="Freeform 27">
                  <a:extLst>
                    <a:ext uri="{FF2B5EF4-FFF2-40B4-BE49-F238E27FC236}">
                      <a16:creationId xmlns:a16="http://schemas.microsoft.com/office/drawing/2014/main" id="{C1F82450-00E1-4BED-3FE4-D3B954E510ED}"/>
                    </a:ext>
                  </a:extLst>
                </p:cNvPr>
                <p:cNvSpPr>
                  <a:spLocks/>
                </p:cNvSpPr>
                <p:nvPr/>
              </p:nvSpPr>
              <p:spPr bwMode="auto">
                <a:xfrm>
                  <a:off x="3678572" y="2706755"/>
                  <a:ext cx="392431" cy="354820"/>
                </a:xfrm>
                <a:custGeom>
                  <a:avLst/>
                  <a:gdLst>
                    <a:gd name="T0" fmla="*/ 2147483646 w 553"/>
                    <a:gd name="T1" fmla="*/ 2147483646 h 500"/>
                    <a:gd name="T2" fmla="*/ 2147483646 w 553"/>
                    <a:gd name="T3" fmla="*/ 2147483646 h 500"/>
                    <a:gd name="T4" fmla="*/ 2147483646 w 553"/>
                    <a:gd name="T5" fmla="*/ 2147483646 h 500"/>
                    <a:gd name="T6" fmla="*/ 2147483646 w 553"/>
                    <a:gd name="T7" fmla="*/ 2147483646 h 500"/>
                    <a:gd name="T8" fmla="*/ 2147483646 w 553"/>
                    <a:gd name="T9" fmla="*/ 2147483646 h 500"/>
                    <a:gd name="T10" fmla="*/ 2147483646 w 553"/>
                    <a:gd name="T11" fmla="*/ 2147483646 h 500"/>
                    <a:gd name="T12" fmla="*/ 2147483646 w 553"/>
                    <a:gd name="T13" fmla="*/ 2147483646 h 500"/>
                    <a:gd name="T14" fmla="*/ 2147483646 w 553"/>
                    <a:gd name="T15" fmla="*/ 2147483646 h 500"/>
                    <a:gd name="T16" fmla="*/ 2147483646 w 553"/>
                    <a:gd name="T17" fmla="*/ 2147483646 h 500"/>
                    <a:gd name="T18" fmla="*/ 2147483646 w 553"/>
                    <a:gd name="T19" fmla="*/ 2147483646 h 500"/>
                    <a:gd name="T20" fmla="*/ 2147483646 w 553"/>
                    <a:gd name="T21" fmla="*/ 2147483646 h 500"/>
                    <a:gd name="T22" fmla="*/ 2147483646 w 553"/>
                    <a:gd name="T23" fmla="*/ 2147483646 h 500"/>
                    <a:gd name="T24" fmla="*/ 2147483646 w 553"/>
                    <a:gd name="T25" fmla="*/ 2147483646 h 500"/>
                    <a:gd name="T26" fmla="*/ 2147483646 w 553"/>
                    <a:gd name="T27" fmla="*/ 2147483646 h 500"/>
                    <a:gd name="T28" fmla="*/ 2147483646 w 553"/>
                    <a:gd name="T29" fmla="*/ 2147483646 h 500"/>
                    <a:gd name="T30" fmla="*/ 0 w 553"/>
                    <a:gd name="T31" fmla="*/ 2147483646 h 500"/>
                    <a:gd name="T32" fmla="*/ 2147483646 w 553"/>
                    <a:gd name="T33" fmla="*/ 2147483646 h 500"/>
                    <a:gd name="T34" fmla="*/ 2147483646 w 553"/>
                    <a:gd name="T35" fmla="*/ 2147483646 h 500"/>
                    <a:gd name="T36" fmla="*/ 2147483646 w 553"/>
                    <a:gd name="T37" fmla="*/ 2147483646 h 500"/>
                    <a:gd name="T38" fmla="*/ 2147483646 w 553"/>
                    <a:gd name="T39" fmla="*/ 2147483646 h 500"/>
                    <a:gd name="T40" fmla="*/ 2147483646 w 553"/>
                    <a:gd name="T41" fmla="*/ 2147483646 h 500"/>
                    <a:gd name="T42" fmla="*/ 2147483646 w 553"/>
                    <a:gd name="T43" fmla="*/ 2147483646 h 500"/>
                    <a:gd name="T44" fmla="*/ 2147483646 w 553"/>
                    <a:gd name="T45" fmla="*/ 2147483646 h 500"/>
                    <a:gd name="T46" fmla="*/ 2147483646 w 553"/>
                    <a:gd name="T47" fmla="*/ 2147483646 h 500"/>
                    <a:gd name="T48" fmla="*/ 2147483646 w 553"/>
                    <a:gd name="T49" fmla="*/ 2147483646 h 500"/>
                    <a:gd name="T50" fmla="*/ 2147483646 w 553"/>
                    <a:gd name="T51" fmla="*/ 2147483646 h 500"/>
                    <a:gd name="T52" fmla="*/ 2147483646 w 553"/>
                    <a:gd name="T53" fmla="*/ 2147483646 h 500"/>
                    <a:gd name="T54" fmla="*/ 2147483646 w 553"/>
                    <a:gd name="T55" fmla="*/ 2147483646 h 500"/>
                    <a:gd name="T56" fmla="*/ 2147483646 w 553"/>
                    <a:gd name="T57" fmla="*/ 2147483646 h 500"/>
                    <a:gd name="T58" fmla="*/ 2147483646 w 553"/>
                    <a:gd name="T59" fmla="*/ 2147483646 h 500"/>
                    <a:gd name="T60" fmla="*/ 2147483646 w 553"/>
                    <a:gd name="T61" fmla="*/ 2147483646 h 500"/>
                    <a:gd name="T62" fmla="*/ 2147483646 w 553"/>
                    <a:gd name="T63" fmla="*/ 2147483646 h 500"/>
                    <a:gd name="T64" fmla="*/ 2147483646 w 553"/>
                    <a:gd name="T65" fmla="*/ 2147483646 h 500"/>
                    <a:gd name="T66" fmla="*/ 2147483646 w 553"/>
                    <a:gd name="T67" fmla="*/ 2147483646 h 500"/>
                    <a:gd name="T68" fmla="*/ 2147483646 w 553"/>
                    <a:gd name="T69" fmla="*/ 2147483646 h 500"/>
                    <a:gd name="T70" fmla="*/ 2147483646 w 553"/>
                    <a:gd name="T71" fmla="*/ 2147483646 h 500"/>
                    <a:gd name="T72" fmla="*/ 2147483646 w 553"/>
                    <a:gd name="T73" fmla="*/ 2147483646 h 500"/>
                    <a:gd name="T74" fmla="*/ 2147483646 w 553"/>
                    <a:gd name="T75" fmla="*/ 2147483646 h 500"/>
                    <a:gd name="T76" fmla="*/ 2147483646 w 553"/>
                    <a:gd name="T77" fmla="*/ 2147483646 h 500"/>
                    <a:gd name="T78" fmla="*/ 2147483646 w 553"/>
                    <a:gd name="T79" fmla="*/ 2147483646 h 500"/>
                    <a:gd name="T80" fmla="*/ 2147483646 w 553"/>
                    <a:gd name="T81" fmla="*/ 2147483646 h 500"/>
                    <a:gd name="T82" fmla="*/ 2147483646 w 553"/>
                    <a:gd name="T83" fmla="*/ 2147483646 h 500"/>
                    <a:gd name="T84" fmla="*/ 2147483646 w 553"/>
                    <a:gd name="T85" fmla="*/ 0 h 50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53" h="500">
                      <a:moveTo>
                        <a:pt x="226" y="0"/>
                      </a:moveTo>
                      <a:lnTo>
                        <a:pt x="206" y="11"/>
                      </a:lnTo>
                      <a:lnTo>
                        <a:pt x="193" y="34"/>
                      </a:lnTo>
                      <a:lnTo>
                        <a:pt x="175" y="42"/>
                      </a:lnTo>
                      <a:lnTo>
                        <a:pt x="159" y="60"/>
                      </a:lnTo>
                      <a:lnTo>
                        <a:pt x="136" y="60"/>
                      </a:lnTo>
                      <a:lnTo>
                        <a:pt x="118" y="70"/>
                      </a:lnTo>
                      <a:lnTo>
                        <a:pt x="116" y="88"/>
                      </a:lnTo>
                      <a:lnTo>
                        <a:pt x="92" y="91"/>
                      </a:lnTo>
                      <a:lnTo>
                        <a:pt x="77" y="106"/>
                      </a:lnTo>
                      <a:lnTo>
                        <a:pt x="72" y="114"/>
                      </a:lnTo>
                      <a:lnTo>
                        <a:pt x="72" y="127"/>
                      </a:lnTo>
                      <a:lnTo>
                        <a:pt x="69" y="147"/>
                      </a:lnTo>
                      <a:lnTo>
                        <a:pt x="51" y="155"/>
                      </a:lnTo>
                      <a:lnTo>
                        <a:pt x="36" y="170"/>
                      </a:lnTo>
                      <a:lnTo>
                        <a:pt x="18" y="181"/>
                      </a:lnTo>
                      <a:lnTo>
                        <a:pt x="15" y="199"/>
                      </a:lnTo>
                      <a:lnTo>
                        <a:pt x="23" y="214"/>
                      </a:lnTo>
                      <a:lnTo>
                        <a:pt x="33" y="237"/>
                      </a:lnTo>
                      <a:lnTo>
                        <a:pt x="28" y="255"/>
                      </a:lnTo>
                      <a:lnTo>
                        <a:pt x="36" y="271"/>
                      </a:lnTo>
                      <a:lnTo>
                        <a:pt x="46" y="294"/>
                      </a:lnTo>
                      <a:lnTo>
                        <a:pt x="62" y="304"/>
                      </a:lnTo>
                      <a:lnTo>
                        <a:pt x="82" y="322"/>
                      </a:lnTo>
                      <a:lnTo>
                        <a:pt x="90" y="338"/>
                      </a:lnTo>
                      <a:lnTo>
                        <a:pt x="74" y="353"/>
                      </a:lnTo>
                      <a:lnTo>
                        <a:pt x="51" y="356"/>
                      </a:lnTo>
                      <a:lnTo>
                        <a:pt x="33" y="345"/>
                      </a:lnTo>
                      <a:lnTo>
                        <a:pt x="13" y="348"/>
                      </a:lnTo>
                      <a:lnTo>
                        <a:pt x="0" y="369"/>
                      </a:lnTo>
                      <a:lnTo>
                        <a:pt x="0" y="389"/>
                      </a:lnTo>
                      <a:lnTo>
                        <a:pt x="15" y="402"/>
                      </a:lnTo>
                      <a:lnTo>
                        <a:pt x="31" y="410"/>
                      </a:lnTo>
                      <a:lnTo>
                        <a:pt x="56" y="418"/>
                      </a:lnTo>
                      <a:lnTo>
                        <a:pt x="82" y="423"/>
                      </a:lnTo>
                      <a:lnTo>
                        <a:pt x="100" y="433"/>
                      </a:lnTo>
                      <a:lnTo>
                        <a:pt x="105" y="448"/>
                      </a:lnTo>
                      <a:lnTo>
                        <a:pt x="110" y="464"/>
                      </a:lnTo>
                      <a:lnTo>
                        <a:pt x="128" y="474"/>
                      </a:lnTo>
                      <a:lnTo>
                        <a:pt x="152" y="472"/>
                      </a:lnTo>
                      <a:lnTo>
                        <a:pt x="157" y="487"/>
                      </a:lnTo>
                      <a:lnTo>
                        <a:pt x="180" y="484"/>
                      </a:lnTo>
                      <a:lnTo>
                        <a:pt x="203" y="484"/>
                      </a:lnTo>
                      <a:lnTo>
                        <a:pt x="221" y="474"/>
                      </a:lnTo>
                      <a:lnTo>
                        <a:pt x="242" y="466"/>
                      </a:lnTo>
                      <a:lnTo>
                        <a:pt x="257" y="477"/>
                      </a:lnTo>
                      <a:lnTo>
                        <a:pt x="275" y="487"/>
                      </a:lnTo>
                      <a:lnTo>
                        <a:pt x="304" y="500"/>
                      </a:lnTo>
                      <a:lnTo>
                        <a:pt x="314" y="495"/>
                      </a:lnTo>
                      <a:lnTo>
                        <a:pt x="337" y="495"/>
                      </a:lnTo>
                      <a:lnTo>
                        <a:pt x="355" y="487"/>
                      </a:lnTo>
                      <a:lnTo>
                        <a:pt x="378" y="484"/>
                      </a:lnTo>
                      <a:lnTo>
                        <a:pt x="381" y="464"/>
                      </a:lnTo>
                      <a:lnTo>
                        <a:pt x="391" y="441"/>
                      </a:lnTo>
                      <a:lnTo>
                        <a:pt x="409" y="423"/>
                      </a:lnTo>
                      <a:lnTo>
                        <a:pt x="432" y="430"/>
                      </a:lnTo>
                      <a:lnTo>
                        <a:pt x="461" y="436"/>
                      </a:lnTo>
                      <a:lnTo>
                        <a:pt x="486" y="441"/>
                      </a:lnTo>
                      <a:lnTo>
                        <a:pt x="499" y="446"/>
                      </a:lnTo>
                      <a:lnTo>
                        <a:pt x="502" y="425"/>
                      </a:lnTo>
                      <a:lnTo>
                        <a:pt x="515" y="402"/>
                      </a:lnTo>
                      <a:lnTo>
                        <a:pt x="525" y="379"/>
                      </a:lnTo>
                      <a:lnTo>
                        <a:pt x="538" y="353"/>
                      </a:lnTo>
                      <a:lnTo>
                        <a:pt x="553" y="338"/>
                      </a:lnTo>
                      <a:lnTo>
                        <a:pt x="548" y="330"/>
                      </a:lnTo>
                      <a:lnTo>
                        <a:pt x="543" y="315"/>
                      </a:lnTo>
                      <a:lnTo>
                        <a:pt x="522" y="297"/>
                      </a:lnTo>
                      <a:lnTo>
                        <a:pt x="515" y="281"/>
                      </a:lnTo>
                      <a:lnTo>
                        <a:pt x="489" y="276"/>
                      </a:lnTo>
                      <a:lnTo>
                        <a:pt x="466" y="253"/>
                      </a:lnTo>
                      <a:lnTo>
                        <a:pt x="437" y="237"/>
                      </a:lnTo>
                      <a:lnTo>
                        <a:pt x="417" y="219"/>
                      </a:lnTo>
                      <a:lnTo>
                        <a:pt x="394" y="194"/>
                      </a:lnTo>
                      <a:lnTo>
                        <a:pt x="358" y="165"/>
                      </a:lnTo>
                      <a:lnTo>
                        <a:pt x="337" y="147"/>
                      </a:lnTo>
                      <a:lnTo>
                        <a:pt x="304" y="127"/>
                      </a:lnTo>
                      <a:lnTo>
                        <a:pt x="293" y="103"/>
                      </a:lnTo>
                      <a:lnTo>
                        <a:pt x="275" y="88"/>
                      </a:lnTo>
                      <a:lnTo>
                        <a:pt x="265" y="65"/>
                      </a:lnTo>
                      <a:lnTo>
                        <a:pt x="255" y="42"/>
                      </a:lnTo>
                      <a:lnTo>
                        <a:pt x="239" y="29"/>
                      </a:lnTo>
                      <a:lnTo>
                        <a:pt x="231" y="16"/>
                      </a:lnTo>
                      <a:lnTo>
                        <a:pt x="226" y="0"/>
                      </a:lnTo>
                      <a:close/>
                    </a:path>
                  </a:pathLst>
                </a:custGeom>
                <a:solidFill>
                  <a:srgbClr val="B5C8E5"/>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37" name="Freeform 28">
                  <a:extLst>
                    <a:ext uri="{FF2B5EF4-FFF2-40B4-BE49-F238E27FC236}">
                      <a16:creationId xmlns:a16="http://schemas.microsoft.com/office/drawing/2014/main" id="{2AAEEE2E-28D3-477B-8DEA-71E5A7B7D572}"/>
                    </a:ext>
                  </a:extLst>
                </p:cNvPr>
                <p:cNvSpPr>
                  <a:spLocks/>
                </p:cNvSpPr>
                <p:nvPr/>
              </p:nvSpPr>
              <p:spPr bwMode="auto">
                <a:xfrm>
                  <a:off x="3323752" y="2772751"/>
                  <a:ext cx="584743" cy="454879"/>
                </a:xfrm>
                <a:custGeom>
                  <a:avLst/>
                  <a:gdLst>
                    <a:gd name="T0" fmla="*/ 2147483646 w 824"/>
                    <a:gd name="T1" fmla="*/ 2147483646 h 641"/>
                    <a:gd name="T2" fmla="*/ 2147483646 w 824"/>
                    <a:gd name="T3" fmla="*/ 2147483646 h 641"/>
                    <a:gd name="T4" fmla="*/ 2147483646 w 824"/>
                    <a:gd name="T5" fmla="*/ 2147483646 h 641"/>
                    <a:gd name="T6" fmla="*/ 2147483646 w 824"/>
                    <a:gd name="T7" fmla="*/ 2147483646 h 641"/>
                    <a:gd name="T8" fmla="*/ 2147483646 w 824"/>
                    <a:gd name="T9" fmla="*/ 2147483646 h 641"/>
                    <a:gd name="T10" fmla="*/ 2147483646 w 824"/>
                    <a:gd name="T11" fmla="*/ 2147483646 h 641"/>
                    <a:gd name="T12" fmla="*/ 2147483646 w 824"/>
                    <a:gd name="T13" fmla="*/ 2147483646 h 641"/>
                    <a:gd name="T14" fmla="*/ 2147483646 w 824"/>
                    <a:gd name="T15" fmla="*/ 2147483646 h 641"/>
                    <a:gd name="T16" fmla="*/ 2147483646 w 824"/>
                    <a:gd name="T17" fmla="*/ 2147483646 h 641"/>
                    <a:gd name="T18" fmla="*/ 2147483646 w 824"/>
                    <a:gd name="T19" fmla="*/ 2147483646 h 641"/>
                    <a:gd name="T20" fmla="*/ 2147483646 w 824"/>
                    <a:gd name="T21" fmla="*/ 2147483646 h 641"/>
                    <a:gd name="T22" fmla="*/ 2147483646 w 824"/>
                    <a:gd name="T23" fmla="*/ 2147483646 h 641"/>
                    <a:gd name="T24" fmla="*/ 2147483646 w 824"/>
                    <a:gd name="T25" fmla="*/ 2147483646 h 641"/>
                    <a:gd name="T26" fmla="*/ 2147483646 w 824"/>
                    <a:gd name="T27" fmla="*/ 2147483646 h 641"/>
                    <a:gd name="T28" fmla="*/ 2147483646 w 824"/>
                    <a:gd name="T29" fmla="*/ 2147483646 h 641"/>
                    <a:gd name="T30" fmla="*/ 2147483646 w 824"/>
                    <a:gd name="T31" fmla="*/ 2147483646 h 641"/>
                    <a:gd name="T32" fmla="*/ 2147483646 w 824"/>
                    <a:gd name="T33" fmla="*/ 2147483646 h 641"/>
                    <a:gd name="T34" fmla="*/ 2147483646 w 824"/>
                    <a:gd name="T35" fmla="*/ 2147483646 h 641"/>
                    <a:gd name="T36" fmla="*/ 2147483646 w 824"/>
                    <a:gd name="T37" fmla="*/ 2147483646 h 641"/>
                    <a:gd name="T38" fmla="*/ 2147483646 w 824"/>
                    <a:gd name="T39" fmla="*/ 2147483646 h 641"/>
                    <a:gd name="T40" fmla="*/ 2147483646 w 824"/>
                    <a:gd name="T41" fmla="*/ 2147483646 h 641"/>
                    <a:gd name="T42" fmla="*/ 2147483646 w 824"/>
                    <a:gd name="T43" fmla="*/ 2147483646 h 641"/>
                    <a:gd name="T44" fmla="*/ 2147483646 w 824"/>
                    <a:gd name="T45" fmla="*/ 2147483646 h 641"/>
                    <a:gd name="T46" fmla="*/ 2147483646 w 824"/>
                    <a:gd name="T47" fmla="*/ 2147483646 h 641"/>
                    <a:gd name="T48" fmla="*/ 2147483646 w 824"/>
                    <a:gd name="T49" fmla="*/ 2147483646 h 641"/>
                    <a:gd name="T50" fmla="*/ 2147483646 w 824"/>
                    <a:gd name="T51" fmla="*/ 2147483646 h 641"/>
                    <a:gd name="T52" fmla="*/ 2147483646 w 824"/>
                    <a:gd name="T53" fmla="*/ 2147483646 h 641"/>
                    <a:gd name="T54" fmla="*/ 2147483646 w 824"/>
                    <a:gd name="T55" fmla="*/ 2147483646 h 641"/>
                    <a:gd name="T56" fmla="*/ 2147483646 w 824"/>
                    <a:gd name="T57" fmla="*/ 2147483646 h 641"/>
                    <a:gd name="T58" fmla="*/ 2147483646 w 824"/>
                    <a:gd name="T59" fmla="*/ 2147483646 h 641"/>
                    <a:gd name="T60" fmla="*/ 2147483646 w 824"/>
                    <a:gd name="T61" fmla="*/ 2147483646 h 641"/>
                    <a:gd name="T62" fmla="*/ 2147483646 w 824"/>
                    <a:gd name="T63" fmla="*/ 2147483646 h 641"/>
                    <a:gd name="T64" fmla="*/ 2147483646 w 824"/>
                    <a:gd name="T65" fmla="*/ 2147483646 h 641"/>
                    <a:gd name="T66" fmla="*/ 2147483646 w 824"/>
                    <a:gd name="T67" fmla="*/ 2147483646 h 641"/>
                    <a:gd name="T68" fmla="*/ 2147483646 w 824"/>
                    <a:gd name="T69" fmla="*/ 0 h 641"/>
                    <a:gd name="T70" fmla="*/ 2147483646 w 824"/>
                    <a:gd name="T71" fmla="*/ 2147483646 h 641"/>
                    <a:gd name="T72" fmla="*/ 2147483646 w 824"/>
                    <a:gd name="T73" fmla="*/ 2147483646 h 641"/>
                    <a:gd name="T74" fmla="*/ 2147483646 w 824"/>
                    <a:gd name="T75" fmla="*/ 2147483646 h 641"/>
                    <a:gd name="T76" fmla="*/ 2147483646 w 824"/>
                    <a:gd name="T77" fmla="*/ 2147483646 h 641"/>
                    <a:gd name="T78" fmla="*/ 2147483646 w 824"/>
                    <a:gd name="T79" fmla="*/ 2147483646 h 641"/>
                    <a:gd name="T80" fmla="*/ 2147483646 w 824"/>
                    <a:gd name="T81" fmla="*/ 2147483646 h 641"/>
                    <a:gd name="T82" fmla="*/ 2147483646 w 824"/>
                    <a:gd name="T83" fmla="*/ 2147483646 h 641"/>
                    <a:gd name="T84" fmla="*/ 2147483646 w 824"/>
                    <a:gd name="T85" fmla="*/ 2147483646 h 641"/>
                    <a:gd name="T86" fmla="*/ 2147483646 w 824"/>
                    <a:gd name="T87" fmla="*/ 2147483646 h 641"/>
                    <a:gd name="T88" fmla="*/ 2147483646 w 824"/>
                    <a:gd name="T89" fmla="*/ 2147483646 h 641"/>
                    <a:gd name="T90" fmla="*/ 2147483646 w 824"/>
                    <a:gd name="T91" fmla="*/ 2147483646 h 641"/>
                    <a:gd name="T92" fmla="*/ 2147483646 w 824"/>
                    <a:gd name="T93" fmla="*/ 2147483646 h 641"/>
                    <a:gd name="T94" fmla="*/ 2147483646 w 824"/>
                    <a:gd name="T95" fmla="*/ 2147483646 h 641"/>
                    <a:gd name="T96" fmla="*/ 2147483646 w 824"/>
                    <a:gd name="T97" fmla="*/ 2147483646 h 64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24" h="641">
                      <a:moveTo>
                        <a:pt x="26" y="222"/>
                      </a:moveTo>
                      <a:lnTo>
                        <a:pt x="49" y="227"/>
                      </a:lnTo>
                      <a:lnTo>
                        <a:pt x="72" y="250"/>
                      </a:lnTo>
                      <a:lnTo>
                        <a:pt x="93" y="270"/>
                      </a:lnTo>
                      <a:lnTo>
                        <a:pt x="103" y="294"/>
                      </a:lnTo>
                      <a:lnTo>
                        <a:pt x="116" y="301"/>
                      </a:lnTo>
                      <a:lnTo>
                        <a:pt x="134" y="322"/>
                      </a:lnTo>
                      <a:lnTo>
                        <a:pt x="152" y="335"/>
                      </a:lnTo>
                      <a:lnTo>
                        <a:pt x="165" y="345"/>
                      </a:lnTo>
                      <a:lnTo>
                        <a:pt x="188" y="353"/>
                      </a:lnTo>
                      <a:lnTo>
                        <a:pt x="206" y="363"/>
                      </a:lnTo>
                      <a:lnTo>
                        <a:pt x="219" y="366"/>
                      </a:lnTo>
                      <a:lnTo>
                        <a:pt x="227" y="381"/>
                      </a:lnTo>
                      <a:lnTo>
                        <a:pt x="242" y="391"/>
                      </a:lnTo>
                      <a:lnTo>
                        <a:pt x="258" y="402"/>
                      </a:lnTo>
                      <a:lnTo>
                        <a:pt x="265" y="415"/>
                      </a:lnTo>
                      <a:lnTo>
                        <a:pt x="271" y="430"/>
                      </a:lnTo>
                      <a:lnTo>
                        <a:pt x="278" y="446"/>
                      </a:lnTo>
                      <a:lnTo>
                        <a:pt x="299" y="464"/>
                      </a:lnTo>
                      <a:lnTo>
                        <a:pt x="317" y="482"/>
                      </a:lnTo>
                      <a:lnTo>
                        <a:pt x="335" y="492"/>
                      </a:lnTo>
                      <a:lnTo>
                        <a:pt x="350" y="502"/>
                      </a:lnTo>
                      <a:lnTo>
                        <a:pt x="368" y="512"/>
                      </a:lnTo>
                      <a:lnTo>
                        <a:pt x="374" y="528"/>
                      </a:lnTo>
                      <a:lnTo>
                        <a:pt x="399" y="554"/>
                      </a:lnTo>
                      <a:lnTo>
                        <a:pt x="417" y="569"/>
                      </a:lnTo>
                      <a:lnTo>
                        <a:pt x="438" y="569"/>
                      </a:lnTo>
                      <a:lnTo>
                        <a:pt x="459" y="587"/>
                      </a:lnTo>
                      <a:lnTo>
                        <a:pt x="479" y="577"/>
                      </a:lnTo>
                      <a:lnTo>
                        <a:pt x="505" y="585"/>
                      </a:lnTo>
                      <a:lnTo>
                        <a:pt x="520" y="595"/>
                      </a:lnTo>
                      <a:lnTo>
                        <a:pt x="528" y="608"/>
                      </a:lnTo>
                      <a:lnTo>
                        <a:pt x="544" y="621"/>
                      </a:lnTo>
                      <a:lnTo>
                        <a:pt x="554" y="641"/>
                      </a:lnTo>
                      <a:lnTo>
                        <a:pt x="577" y="641"/>
                      </a:lnTo>
                      <a:lnTo>
                        <a:pt x="590" y="623"/>
                      </a:lnTo>
                      <a:lnTo>
                        <a:pt x="610" y="613"/>
                      </a:lnTo>
                      <a:lnTo>
                        <a:pt x="634" y="613"/>
                      </a:lnTo>
                      <a:lnTo>
                        <a:pt x="657" y="613"/>
                      </a:lnTo>
                      <a:lnTo>
                        <a:pt x="683" y="618"/>
                      </a:lnTo>
                      <a:lnTo>
                        <a:pt x="698" y="628"/>
                      </a:lnTo>
                      <a:lnTo>
                        <a:pt x="716" y="618"/>
                      </a:lnTo>
                      <a:lnTo>
                        <a:pt x="734" y="603"/>
                      </a:lnTo>
                      <a:lnTo>
                        <a:pt x="760" y="608"/>
                      </a:lnTo>
                      <a:lnTo>
                        <a:pt x="775" y="621"/>
                      </a:lnTo>
                      <a:lnTo>
                        <a:pt x="793" y="610"/>
                      </a:lnTo>
                      <a:lnTo>
                        <a:pt x="809" y="595"/>
                      </a:lnTo>
                      <a:lnTo>
                        <a:pt x="811" y="574"/>
                      </a:lnTo>
                      <a:lnTo>
                        <a:pt x="814" y="556"/>
                      </a:lnTo>
                      <a:lnTo>
                        <a:pt x="809" y="538"/>
                      </a:lnTo>
                      <a:lnTo>
                        <a:pt x="801" y="525"/>
                      </a:lnTo>
                      <a:lnTo>
                        <a:pt x="804" y="507"/>
                      </a:lnTo>
                      <a:lnTo>
                        <a:pt x="814" y="502"/>
                      </a:lnTo>
                      <a:lnTo>
                        <a:pt x="824" y="497"/>
                      </a:lnTo>
                      <a:lnTo>
                        <a:pt x="822" y="489"/>
                      </a:lnTo>
                      <a:lnTo>
                        <a:pt x="822" y="471"/>
                      </a:lnTo>
                      <a:lnTo>
                        <a:pt x="816" y="456"/>
                      </a:lnTo>
                      <a:lnTo>
                        <a:pt x="809" y="440"/>
                      </a:lnTo>
                      <a:lnTo>
                        <a:pt x="801" y="425"/>
                      </a:lnTo>
                      <a:lnTo>
                        <a:pt x="804" y="407"/>
                      </a:lnTo>
                      <a:lnTo>
                        <a:pt x="775" y="394"/>
                      </a:lnTo>
                      <a:lnTo>
                        <a:pt x="757" y="384"/>
                      </a:lnTo>
                      <a:lnTo>
                        <a:pt x="742" y="373"/>
                      </a:lnTo>
                      <a:lnTo>
                        <a:pt x="721" y="381"/>
                      </a:lnTo>
                      <a:lnTo>
                        <a:pt x="703" y="391"/>
                      </a:lnTo>
                      <a:lnTo>
                        <a:pt x="680" y="391"/>
                      </a:lnTo>
                      <a:lnTo>
                        <a:pt x="657" y="394"/>
                      </a:lnTo>
                      <a:lnTo>
                        <a:pt x="652" y="379"/>
                      </a:lnTo>
                      <a:lnTo>
                        <a:pt x="628" y="381"/>
                      </a:lnTo>
                      <a:lnTo>
                        <a:pt x="610" y="371"/>
                      </a:lnTo>
                      <a:lnTo>
                        <a:pt x="605" y="355"/>
                      </a:lnTo>
                      <a:lnTo>
                        <a:pt x="600" y="340"/>
                      </a:lnTo>
                      <a:lnTo>
                        <a:pt x="582" y="330"/>
                      </a:lnTo>
                      <a:lnTo>
                        <a:pt x="556" y="325"/>
                      </a:lnTo>
                      <a:lnTo>
                        <a:pt x="531" y="317"/>
                      </a:lnTo>
                      <a:lnTo>
                        <a:pt x="515" y="309"/>
                      </a:lnTo>
                      <a:lnTo>
                        <a:pt x="500" y="296"/>
                      </a:lnTo>
                      <a:lnTo>
                        <a:pt x="500" y="276"/>
                      </a:lnTo>
                      <a:lnTo>
                        <a:pt x="513" y="255"/>
                      </a:lnTo>
                      <a:lnTo>
                        <a:pt x="533" y="252"/>
                      </a:lnTo>
                      <a:lnTo>
                        <a:pt x="551" y="263"/>
                      </a:lnTo>
                      <a:lnTo>
                        <a:pt x="574" y="260"/>
                      </a:lnTo>
                      <a:lnTo>
                        <a:pt x="590" y="245"/>
                      </a:lnTo>
                      <a:lnTo>
                        <a:pt x="582" y="229"/>
                      </a:lnTo>
                      <a:lnTo>
                        <a:pt x="562" y="211"/>
                      </a:lnTo>
                      <a:lnTo>
                        <a:pt x="546" y="201"/>
                      </a:lnTo>
                      <a:lnTo>
                        <a:pt x="536" y="178"/>
                      </a:lnTo>
                      <a:lnTo>
                        <a:pt x="528" y="162"/>
                      </a:lnTo>
                      <a:lnTo>
                        <a:pt x="533" y="144"/>
                      </a:lnTo>
                      <a:lnTo>
                        <a:pt x="523" y="121"/>
                      </a:lnTo>
                      <a:lnTo>
                        <a:pt x="515" y="106"/>
                      </a:lnTo>
                      <a:lnTo>
                        <a:pt x="518" y="88"/>
                      </a:lnTo>
                      <a:lnTo>
                        <a:pt x="536" y="77"/>
                      </a:lnTo>
                      <a:lnTo>
                        <a:pt x="551" y="62"/>
                      </a:lnTo>
                      <a:lnTo>
                        <a:pt x="569" y="54"/>
                      </a:lnTo>
                      <a:lnTo>
                        <a:pt x="572" y="34"/>
                      </a:lnTo>
                      <a:lnTo>
                        <a:pt x="572" y="21"/>
                      </a:lnTo>
                      <a:lnTo>
                        <a:pt x="577" y="13"/>
                      </a:lnTo>
                      <a:lnTo>
                        <a:pt x="562" y="10"/>
                      </a:lnTo>
                      <a:lnTo>
                        <a:pt x="546" y="0"/>
                      </a:lnTo>
                      <a:lnTo>
                        <a:pt x="525" y="0"/>
                      </a:lnTo>
                      <a:lnTo>
                        <a:pt x="515" y="26"/>
                      </a:lnTo>
                      <a:lnTo>
                        <a:pt x="500" y="49"/>
                      </a:lnTo>
                      <a:lnTo>
                        <a:pt x="479" y="49"/>
                      </a:lnTo>
                      <a:lnTo>
                        <a:pt x="464" y="65"/>
                      </a:lnTo>
                      <a:lnTo>
                        <a:pt x="441" y="67"/>
                      </a:lnTo>
                      <a:lnTo>
                        <a:pt x="425" y="85"/>
                      </a:lnTo>
                      <a:lnTo>
                        <a:pt x="410" y="101"/>
                      </a:lnTo>
                      <a:lnTo>
                        <a:pt x="394" y="116"/>
                      </a:lnTo>
                      <a:lnTo>
                        <a:pt x="379" y="134"/>
                      </a:lnTo>
                      <a:lnTo>
                        <a:pt x="363" y="149"/>
                      </a:lnTo>
                      <a:lnTo>
                        <a:pt x="345" y="160"/>
                      </a:lnTo>
                      <a:lnTo>
                        <a:pt x="312" y="165"/>
                      </a:lnTo>
                      <a:lnTo>
                        <a:pt x="296" y="155"/>
                      </a:lnTo>
                      <a:lnTo>
                        <a:pt x="289" y="139"/>
                      </a:lnTo>
                      <a:lnTo>
                        <a:pt x="263" y="134"/>
                      </a:lnTo>
                      <a:lnTo>
                        <a:pt x="258" y="119"/>
                      </a:lnTo>
                      <a:lnTo>
                        <a:pt x="250" y="103"/>
                      </a:lnTo>
                      <a:lnTo>
                        <a:pt x="235" y="93"/>
                      </a:lnTo>
                      <a:lnTo>
                        <a:pt x="214" y="75"/>
                      </a:lnTo>
                      <a:lnTo>
                        <a:pt x="198" y="65"/>
                      </a:lnTo>
                      <a:lnTo>
                        <a:pt x="178" y="72"/>
                      </a:lnTo>
                      <a:lnTo>
                        <a:pt x="157" y="75"/>
                      </a:lnTo>
                      <a:lnTo>
                        <a:pt x="150" y="59"/>
                      </a:lnTo>
                      <a:lnTo>
                        <a:pt x="142" y="44"/>
                      </a:lnTo>
                      <a:lnTo>
                        <a:pt x="144" y="26"/>
                      </a:lnTo>
                      <a:lnTo>
                        <a:pt x="137" y="10"/>
                      </a:lnTo>
                      <a:lnTo>
                        <a:pt x="116" y="13"/>
                      </a:lnTo>
                      <a:lnTo>
                        <a:pt x="108" y="26"/>
                      </a:lnTo>
                      <a:lnTo>
                        <a:pt x="106" y="44"/>
                      </a:lnTo>
                      <a:lnTo>
                        <a:pt x="103" y="65"/>
                      </a:lnTo>
                      <a:lnTo>
                        <a:pt x="90" y="90"/>
                      </a:lnTo>
                      <a:lnTo>
                        <a:pt x="80" y="113"/>
                      </a:lnTo>
                      <a:lnTo>
                        <a:pt x="65" y="129"/>
                      </a:lnTo>
                      <a:lnTo>
                        <a:pt x="49" y="144"/>
                      </a:lnTo>
                      <a:lnTo>
                        <a:pt x="54" y="160"/>
                      </a:lnTo>
                      <a:lnTo>
                        <a:pt x="54" y="180"/>
                      </a:lnTo>
                      <a:lnTo>
                        <a:pt x="36" y="196"/>
                      </a:lnTo>
                      <a:lnTo>
                        <a:pt x="13" y="196"/>
                      </a:lnTo>
                      <a:lnTo>
                        <a:pt x="0" y="214"/>
                      </a:lnTo>
                      <a:lnTo>
                        <a:pt x="26" y="222"/>
                      </a:lnTo>
                      <a:close/>
                    </a:path>
                  </a:pathLst>
                </a:custGeom>
                <a:solidFill>
                  <a:srgbClr val="B5C8E5"/>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38" name="Freeform 29">
                  <a:extLst>
                    <a:ext uri="{FF2B5EF4-FFF2-40B4-BE49-F238E27FC236}">
                      <a16:creationId xmlns:a16="http://schemas.microsoft.com/office/drawing/2014/main" id="{6EE07426-6998-5033-8FF5-C650C0EC3217}"/>
                    </a:ext>
                  </a:extLst>
                </p:cNvPr>
                <p:cNvSpPr>
                  <a:spLocks/>
                </p:cNvSpPr>
                <p:nvPr/>
              </p:nvSpPr>
              <p:spPr bwMode="auto">
                <a:xfrm>
                  <a:off x="3395425" y="1633070"/>
                  <a:ext cx="275340" cy="271792"/>
                </a:xfrm>
                <a:custGeom>
                  <a:avLst/>
                  <a:gdLst>
                    <a:gd name="T0" fmla="*/ 2147483646 w 388"/>
                    <a:gd name="T1" fmla="*/ 2147483646 h 383"/>
                    <a:gd name="T2" fmla="*/ 2147483646 w 388"/>
                    <a:gd name="T3" fmla="*/ 2147483646 h 383"/>
                    <a:gd name="T4" fmla="*/ 2147483646 w 388"/>
                    <a:gd name="T5" fmla="*/ 0 h 383"/>
                    <a:gd name="T6" fmla="*/ 2147483646 w 388"/>
                    <a:gd name="T7" fmla="*/ 2147483646 h 383"/>
                    <a:gd name="T8" fmla="*/ 2147483646 w 388"/>
                    <a:gd name="T9" fmla="*/ 2147483646 h 383"/>
                    <a:gd name="T10" fmla="*/ 2147483646 w 388"/>
                    <a:gd name="T11" fmla="*/ 2147483646 h 383"/>
                    <a:gd name="T12" fmla="*/ 2147483646 w 388"/>
                    <a:gd name="T13" fmla="*/ 2147483646 h 383"/>
                    <a:gd name="T14" fmla="*/ 2147483646 w 388"/>
                    <a:gd name="T15" fmla="*/ 2147483646 h 383"/>
                    <a:gd name="T16" fmla="*/ 2147483646 w 388"/>
                    <a:gd name="T17" fmla="*/ 2147483646 h 383"/>
                    <a:gd name="T18" fmla="*/ 0 w 388"/>
                    <a:gd name="T19" fmla="*/ 2147483646 h 383"/>
                    <a:gd name="T20" fmla="*/ 2147483646 w 388"/>
                    <a:gd name="T21" fmla="*/ 2147483646 h 383"/>
                    <a:gd name="T22" fmla="*/ 2147483646 w 388"/>
                    <a:gd name="T23" fmla="*/ 2147483646 h 383"/>
                    <a:gd name="T24" fmla="*/ 2147483646 w 388"/>
                    <a:gd name="T25" fmla="*/ 2147483646 h 383"/>
                    <a:gd name="T26" fmla="*/ 2147483646 w 388"/>
                    <a:gd name="T27" fmla="*/ 2147483646 h 383"/>
                    <a:gd name="T28" fmla="*/ 2147483646 w 388"/>
                    <a:gd name="T29" fmla="*/ 2147483646 h 383"/>
                    <a:gd name="T30" fmla="*/ 2147483646 w 388"/>
                    <a:gd name="T31" fmla="*/ 2147483646 h 383"/>
                    <a:gd name="T32" fmla="*/ 2147483646 w 388"/>
                    <a:gd name="T33" fmla="*/ 2147483646 h 383"/>
                    <a:gd name="T34" fmla="*/ 2147483646 w 388"/>
                    <a:gd name="T35" fmla="*/ 2147483646 h 383"/>
                    <a:gd name="T36" fmla="*/ 2147483646 w 388"/>
                    <a:gd name="T37" fmla="*/ 2147483646 h 383"/>
                    <a:gd name="T38" fmla="*/ 2147483646 w 388"/>
                    <a:gd name="T39" fmla="*/ 2147483646 h 383"/>
                    <a:gd name="T40" fmla="*/ 2147483646 w 388"/>
                    <a:gd name="T41" fmla="*/ 2147483646 h 383"/>
                    <a:gd name="T42" fmla="*/ 2147483646 w 388"/>
                    <a:gd name="T43" fmla="*/ 2147483646 h 383"/>
                    <a:gd name="T44" fmla="*/ 2147483646 w 388"/>
                    <a:gd name="T45" fmla="*/ 2147483646 h 383"/>
                    <a:gd name="T46" fmla="*/ 2147483646 w 388"/>
                    <a:gd name="T47" fmla="*/ 2147483646 h 383"/>
                    <a:gd name="T48" fmla="*/ 2147483646 w 388"/>
                    <a:gd name="T49" fmla="*/ 2147483646 h 383"/>
                    <a:gd name="T50" fmla="*/ 2147483646 w 388"/>
                    <a:gd name="T51" fmla="*/ 2147483646 h 383"/>
                    <a:gd name="T52" fmla="*/ 2147483646 w 388"/>
                    <a:gd name="T53" fmla="*/ 2147483646 h 383"/>
                    <a:gd name="T54" fmla="*/ 2147483646 w 388"/>
                    <a:gd name="T55" fmla="*/ 2147483646 h 383"/>
                    <a:gd name="T56" fmla="*/ 2147483646 w 388"/>
                    <a:gd name="T57" fmla="*/ 2147483646 h 383"/>
                    <a:gd name="T58" fmla="*/ 2147483646 w 388"/>
                    <a:gd name="T59" fmla="*/ 2147483646 h 383"/>
                    <a:gd name="T60" fmla="*/ 2147483646 w 388"/>
                    <a:gd name="T61" fmla="*/ 2147483646 h 383"/>
                    <a:gd name="T62" fmla="*/ 2147483646 w 388"/>
                    <a:gd name="T63" fmla="*/ 2147483646 h 383"/>
                    <a:gd name="T64" fmla="*/ 2147483646 w 388"/>
                    <a:gd name="T65" fmla="*/ 2147483646 h 383"/>
                    <a:gd name="T66" fmla="*/ 2147483646 w 388"/>
                    <a:gd name="T67" fmla="*/ 2147483646 h 38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88" h="383">
                      <a:moveTo>
                        <a:pt x="345" y="7"/>
                      </a:moveTo>
                      <a:lnTo>
                        <a:pt x="314" y="10"/>
                      </a:lnTo>
                      <a:lnTo>
                        <a:pt x="288" y="7"/>
                      </a:lnTo>
                      <a:lnTo>
                        <a:pt x="267" y="15"/>
                      </a:lnTo>
                      <a:lnTo>
                        <a:pt x="247" y="18"/>
                      </a:lnTo>
                      <a:lnTo>
                        <a:pt x="226" y="0"/>
                      </a:lnTo>
                      <a:lnTo>
                        <a:pt x="203" y="0"/>
                      </a:lnTo>
                      <a:lnTo>
                        <a:pt x="185" y="7"/>
                      </a:lnTo>
                      <a:lnTo>
                        <a:pt x="159" y="2"/>
                      </a:lnTo>
                      <a:lnTo>
                        <a:pt x="141" y="10"/>
                      </a:lnTo>
                      <a:lnTo>
                        <a:pt x="118" y="13"/>
                      </a:lnTo>
                      <a:lnTo>
                        <a:pt x="116" y="33"/>
                      </a:lnTo>
                      <a:lnTo>
                        <a:pt x="95" y="41"/>
                      </a:lnTo>
                      <a:lnTo>
                        <a:pt x="85" y="64"/>
                      </a:lnTo>
                      <a:lnTo>
                        <a:pt x="69" y="82"/>
                      </a:lnTo>
                      <a:lnTo>
                        <a:pt x="46" y="82"/>
                      </a:lnTo>
                      <a:lnTo>
                        <a:pt x="36" y="108"/>
                      </a:lnTo>
                      <a:lnTo>
                        <a:pt x="33" y="128"/>
                      </a:lnTo>
                      <a:lnTo>
                        <a:pt x="13" y="136"/>
                      </a:lnTo>
                      <a:lnTo>
                        <a:pt x="0" y="159"/>
                      </a:lnTo>
                      <a:lnTo>
                        <a:pt x="20" y="177"/>
                      </a:lnTo>
                      <a:lnTo>
                        <a:pt x="36" y="188"/>
                      </a:lnTo>
                      <a:lnTo>
                        <a:pt x="46" y="211"/>
                      </a:lnTo>
                      <a:lnTo>
                        <a:pt x="54" y="226"/>
                      </a:lnTo>
                      <a:lnTo>
                        <a:pt x="43" y="249"/>
                      </a:lnTo>
                      <a:lnTo>
                        <a:pt x="31" y="273"/>
                      </a:lnTo>
                      <a:lnTo>
                        <a:pt x="51" y="293"/>
                      </a:lnTo>
                      <a:lnTo>
                        <a:pt x="56" y="306"/>
                      </a:lnTo>
                      <a:lnTo>
                        <a:pt x="69" y="329"/>
                      </a:lnTo>
                      <a:lnTo>
                        <a:pt x="74" y="342"/>
                      </a:lnTo>
                      <a:lnTo>
                        <a:pt x="100" y="352"/>
                      </a:lnTo>
                      <a:lnTo>
                        <a:pt x="131" y="342"/>
                      </a:lnTo>
                      <a:lnTo>
                        <a:pt x="146" y="329"/>
                      </a:lnTo>
                      <a:lnTo>
                        <a:pt x="177" y="321"/>
                      </a:lnTo>
                      <a:lnTo>
                        <a:pt x="195" y="332"/>
                      </a:lnTo>
                      <a:lnTo>
                        <a:pt x="218" y="358"/>
                      </a:lnTo>
                      <a:lnTo>
                        <a:pt x="237" y="368"/>
                      </a:lnTo>
                      <a:lnTo>
                        <a:pt x="242" y="383"/>
                      </a:lnTo>
                      <a:lnTo>
                        <a:pt x="252" y="360"/>
                      </a:lnTo>
                      <a:lnTo>
                        <a:pt x="273" y="350"/>
                      </a:lnTo>
                      <a:lnTo>
                        <a:pt x="296" y="350"/>
                      </a:lnTo>
                      <a:lnTo>
                        <a:pt x="311" y="360"/>
                      </a:lnTo>
                      <a:lnTo>
                        <a:pt x="329" y="352"/>
                      </a:lnTo>
                      <a:lnTo>
                        <a:pt x="352" y="347"/>
                      </a:lnTo>
                      <a:lnTo>
                        <a:pt x="368" y="332"/>
                      </a:lnTo>
                      <a:lnTo>
                        <a:pt x="383" y="316"/>
                      </a:lnTo>
                      <a:lnTo>
                        <a:pt x="386" y="298"/>
                      </a:lnTo>
                      <a:lnTo>
                        <a:pt x="388" y="275"/>
                      </a:lnTo>
                      <a:lnTo>
                        <a:pt x="373" y="265"/>
                      </a:lnTo>
                      <a:lnTo>
                        <a:pt x="350" y="267"/>
                      </a:lnTo>
                      <a:lnTo>
                        <a:pt x="342" y="252"/>
                      </a:lnTo>
                      <a:lnTo>
                        <a:pt x="334" y="237"/>
                      </a:lnTo>
                      <a:lnTo>
                        <a:pt x="352" y="221"/>
                      </a:lnTo>
                      <a:lnTo>
                        <a:pt x="363" y="198"/>
                      </a:lnTo>
                      <a:lnTo>
                        <a:pt x="368" y="177"/>
                      </a:lnTo>
                      <a:lnTo>
                        <a:pt x="360" y="164"/>
                      </a:lnTo>
                      <a:lnTo>
                        <a:pt x="352" y="146"/>
                      </a:lnTo>
                      <a:lnTo>
                        <a:pt x="329" y="149"/>
                      </a:lnTo>
                      <a:lnTo>
                        <a:pt x="314" y="139"/>
                      </a:lnTo>
                      <a:lnTo>
                        <a:pt x="298" y="128"/>
                      </a:lnTo>
                      <a:lnTo>
                        <a:pt x="301" y="110"/>
                      </a:lnTo>
                      <a:lnTo>
                        <a:pt x="316" y="92"/>
                      </a:lnTo>
                      <a:lnTo>
                        <a:pt x="334" y="85"/>
                      </a:lnTo>
                      <a:lnTo>
                        <a:pt x="350" y="67"/>
                      </a:lnTo>
                      <a:lnTo>
                        <a:pt x="363" y="43"/>
                      </a:lnTo>
                      <a:lnTo>
                        <a:pt x="355" y="31"/>
                      </a:lnTo>
                      <a:lnTo>
                        <a:pt x="352" y="20"/>
                      </a:lnTo>
                      <a:lnTo>
                        <a:pt x="345" y="7"/>
                      </a:lnTo>
                      <a:close/>
                    </a:path>
                  </a:pathLst>
                </a:custGeom>
                <a:solidFill>
                  <a:srgbClr val="7C7C7C"/>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39" name="Freeform 30">
                  <a:extLst>
                    <a:ext uri="{FF2B5EF4-FFF2-40B4-BE49-F238E27FC236}">
                      <a16:creationId xmlns:a16="http://schemas.microsoft.com/office/drawing/2014/main" id="{05FB71EC-1474-53E5-D915-56D1BDCFDD87}"/>
                    </a:ext>
                  </a:extLst>
                </p:cNvPr>
                <p:cNvSpPr>
                  <a:spLocks/>
                </p:cNvSpPr>
                <p:nvPr/>
              </p:nvSpPr>
              <p:spPr bwMode="auto">
                <a:xfrm>
                  <a:off x="2985963" y="1519528"/>
                  <a:ext cx="414430" cy="442105"/>
                </a:xfrm>
                <a:custGeom>
                  <a:avLst/>
                  <a:gdLst>
                    <a:gd name="T0" fmla="*/ 2147483646 w 584"/>
                    <a:gd name="T1" fmla="*/ 2147483646 h 623"/>
                    <a:gd name="T2" fmla="*/ 2147483646 w 584"/>
                    <a:gd name="T3" fmla="*/ 2147483646 h 623"/>
                    <a:gd name="T4" fmla="*/ 2147483646 w 584"/>
                    <a:gd name="T5" fmla="*/ 2147483646 h 623"/>
                    <a:gd name="T6" fmla="*/ 2147483646 w 584"/>
                    <a:gd name="T7" fmla="*/ 2147483646 h 623"/>
                    <a:gd name="T8" fmla="*/ 2147483646 w 584"/>
                    <a:gd name="T9" fmla="*/ 2147483646 h 623"/>
                    <a:gd name="T10" fmla="*/ 2147483646 w 584"/>
                    <a:gd name="T11" fmla="*/ 2147483646 h 623"/>
                    <a:gd name="T12" fmla="*/ 2147483646 w 584"/>
                    <a:gd name="T13" fmla="*/ 2147483646 h 623"/>
                    <a:gd name="T14" fmla="*/ 2147483646 w 584"/>
                    <a:gd name="T15" fmla="*/ 2147483646 h 623"/>
                    <a:gd name="T16" fmla="*/ 2147483646 w 584"/>
                    <a:gd name="T17" fmla="*/ 2147483646 h 623"/>
                    <a:gd name="T18" fmla="*/ 2147483646 w 584"/>
                    <a:gd name="T19" fmla="*/ 2147483646 h 623"/>
                    <a:gd name="T20" fmla="*/ 2147483646 w 584"/>
                    <a:gd name="T21" fmla="*/ 2147483646 h 623"/>
                    <a:gd name="T22" fmla="*/ 2147483646 w 584"/>
                    <a:gd name="T23" fmla="*/ 2147483646 h 623"/>
                    <a:gd name="T24" fmla="*/ 2147483646 w 584"/>
                    <a:gd name="T25" fmla="*/ 2147483646 h 623"/>
                    <a:gd name="T26" fmla="*/ 2147483646 w 584"/>
                    <a:gd name="T27" fmla="*/ 2147483646 h 623"/>
                    <a:gd name="T28" fmla="*/ 2147483646 w 584"/>
                    <a:gd name="T29" fmla="*/ 2147483646 h 623"/>
                    <a:gd name="T30" fmla="*/ 2147483646 w 584"/>
                    <a:gd name="T31" fmla="*/ 2147483646 h 623"/>
                    <a:gd name="T32" fmla="*/ 2147483646 w 584"/>
                    <a:gd name="T33" fmla="*/ 2147483646 h 623"/>
                    <a:gd name="T34" fmla="*/ 2147483646 w 584"/>
                    <a:gd name="T35" fmla="*/ 2147483646 h 623"/>
                    <a:gd name="T36" fmla="*/ 2147483646 w 584"/>
                    <a:gd name="T37" fmla="*/ 2147483646 h 623"/>
                    <a:gd name="T38" fmla="*/ 2147483646 w 584"/>
                    <a:gd name="T39" fmla="*/ 2147483646 h 623"/>
                    <a:gd name="T40" fmla="*/ 2147483646 w 584"/>
                    <a:gd name="T41" fmla="*/ 2147483646 h 623"/>
                    <a:gd name="T42" fmla="*/ 2147483646 w 584"/>
                    <a:gd name="T43" fmla="*/ 2147483646 h 623"/>
                    <a:gd name="T44" fmla="*/ 2147483646 w 584"/>
                    <a:gd name="T45" fmla="*/ 2147483646 h 623"/>
                    <a:gd name="T46" fmla="*/ 2147483646 w 584"/>
                    <a:gd name="T47" fmla="*/ 2147483646 h 623"/>
                    <a:gd name="T48" fmla="*/ 2147483646 w 584"/>
                    <a:gd name="T49" fmla="*/ 2147483646 h 623"/>
                    <a:gd name="T50" fmla="*/ 2147483646 w 584"/>
                    <a:gd name="T51" fmla="*/ 2147483646 h 623"/>
                    <a:gd name="T52" fmla="*/ 2147483646 w 584"/>
                    <a:gd name="T53" fmla="*/ 2147483646 h 623"/>
                    <a:gd name="T54" fmla="*/ 2147483646 w 584"/>
                    <a:gd name="T55" fmla="*/ 2147483646 h 623"/>
                    <a:gd name="T56" fmla="*/ 2147483646 w 584"/>
                    <a:gd name="T57" fmla="*/ 2147483646 h 623"/>
                    <a:gd name="T58" fmla="*/ 2147483646 w 584"/>
                    <a:gd name="T59" fmla="*/ 2147483646 h 623"/>
                    <a:gd name="T60" fmla="*/ 2147483646 w 584"/>
                    <a:gd name="T61" fmla="*/ 2147483646 h 623"/>
                    <a:gd name="T62" fmla="*/ 2147483646 w 584"/>
                    <a:gd name="T63" fmla="*/ 2147483646 h 623"/>
                    <a:gd name="T64" fmla="*/ 2147483646 w 584"/>
                    <a:gd name="T65" fmla="*/ 2147483646 h 623"/>
                    <a:gd name="T66" fmla="*/ 2147483646 w 584"/>
                    <a:gd name="T67" fmla="*/ 2147483646 h 623"/>
                    <a:gd name="T68" fmla="*/ 2147483646 w 584"/>
                    <a:gd name="T69" fmla="*/ 2147483646 h 623"/>
                    <a:gd name="T70" fmla="*/ 2147483646 w 584"/>
                    <a:gd name="T71" fmla="*/ 2147483646 h 623"/>
                    <a:gd name="T72" fmla="*/ 2147483646 w 584"/>
                    <a:gd name="T73" fmla="*/ 2147483646 h 623"/>
                    <a:gd name="T74" fmla="*/ 2147483646 w 584"/>
                    <a:gd name="T75" fmla="*/ 2147483646 h 623"/>
                    <a:gd name="T76" fmla="*/ 2147483646 w 584"/>
                    <a:gd name="T77" fmla="*/ 2147483646 h 623"/>
                    <a:gd name="T78" fmla="*/ 2147483646 w 584"/>
                    <a:gd name="T79" fmla="*/ 2147483646 h 623"/>
                    <a:gd name="T80" fmla="*/ 2147483646 w 584"/>
                    <a:gd name="T81" fmla="*/ 2147483646 h 623"/>
                    <a:gd name="T82" fmla="*/ 2147483646 w 584"/>
                    <a:gd name="T83" fmla="*/ 2147483646 h 623"/>
                    <a:gd name="T84" fmla="*/ 2147483646 w 584"/>
                    <a:gd name="T85" fmla="*/ 2147483646 h 623"/>
                    <a:gd name="T86" fmla="*/ 2147483646 w 584"/>
                    <a:gd name="T87" fmla="*/ 2147483646 h 623"/>
                    <a:gd name="T88" fmla="*/ 2147483646 w 584"/>
                    <a:gd name="T89" fmla="*/ 2147483646 h 623"/>
                    <a:gd name="T90" fmla="*/ 2147483646 w 584"/>
                    <a:gd name="T91" fmla="*/ 2147483646 h 623"/>
                    <a:gd name="T92" fmla="*/ 2147483646 w 584"/>
                    <a:gd name="T93" fmla="*/ 2147483646 h 623"/>
                    <a:gd name="T94" fmla="*/ 2147483646 w 584"/>
                    <a:gd name="T95" fmla="*/ 2147483646 h 623"/>
                    <a:gd name="T96" fmla="*/ 2147483646 w 584"/>
                    <a:gd name="T97" fmla="*/ 2147483646 h 623"/>
                    <a:gd name="T98" fmla="*/ 2147483646 w 584"/>
                    <a:gd name="T99" fmla="*/ 2147483646 h 623"/>
                    <a:gd name="T100" fmla="*/ 2147483646 w 584"/>
                    <a:gd name="T101" fmla="*/ 2147483646 h 623"/>
                    <a:gd name="T102" fmla="*/ 2147483646 w 584"/>
                    <a:gd name="T103" fmla="*/ 2147483646 h 623"/>
                    <a:gd name="T104" fmla="*/ 2147483646 w 584"/>
                    <a:gd name="T105" fmla="*/ 0 h 623"/>
                    <a:gd name="T106" fmla="*/ 2147483646 w 584"/>
                    <a:gd name="T107" fmla="*/ 2147483646 h 623"/>
                    <a:gd name="T108" fmla="*/ 2147483646 w 584"/>
                    <a:gd name="T109" fmla="*/ 2147483646 h 623"/>
                    <a:gd name="T110" fmla="*/ 2147483646 w 584"/>
                    <a:gd name="T111" fmla="*/ 2147483646 h 623"/>
                    <a:gd name="T112" fmla="*/ 2147483646 w 584"/>
                    <a:gd name="T113" fmla="*/ 2147483646 h 623"/>
                    <a:gd name="T114" fmla="*/ 2147483646 w 584"/>
                    <a:gd name="T115" fmla="*/ 2147483646 h 623"/>
                    <a:gd name="T116" fmla="*/ 2147483646 w 584"/>
                    <a:gd name="T117" fmla="*/ 2147483646 h 623"/>
                    <a:gd name="T118" fmla="*/ 2147483646 w 584"/>
                    <a:gd name="T119" fmla="*/ 2147483646 h 62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84" h="623">
                      <a:moveTo>
                        <a:pt x="584" y="160"/>
                      </a:moveTo>
                      <a:lnTo>
                        <a:pt x="579" y="173"/>
                      </a:lnTo>
                      <a:lnTo>
                        <a:pt x="561" y="183"/>
                      </a:lnTo>
                      <a:lnTo>
                        <a:pt x="543" y="193"/>
                      </a:lnTo>
                      <a:lnTo>
                        <a:pt x="523" y="201"/>
                      </a:lnTo>
                      <a:lnTo>
                        <a:pt x="507" y="191"/>
                      </a:lnTo>
                      <a:lnTo>
                        <a:pt x="489" y="180"/>
                      </a:lnTo>
                      <a:lnTo>
                        <a:pt x="474" y="196"/>
                      </a:lnTo>
                      <a:lnTo>
                        <a:pt x="471" y="214"/>
                      </a:lnTo>
                      <a:lnTo>
                        <a:pt x="453" y="224"/>
                      </a:lnTo>
                      <a:lnTo>
                        <a:pt x="432" y="234"/>
                      </a:lnTo>
                      <a:lnTo>
                        <a:pt x="414" y="242"/>
                      </a:lnTo>
                      <a:lnTo>
                        <a:pt x="422" y="257"/>
                      </a:lnTo>
                      <a:lnTo>
                        <a:pt x="438" y="268"/>
                      </a:lnTo>
                      <a:lnTo>
                        <a:pt x="438" y="294"/>
                      </a:lnTo>
                      <a:lnTo>
                        <a:pt x="438" y="314"/>
                      </a:lnTo>
                      <a:lnTo>
                        <a:pt x="420" y="330"/>
                      </a:lnTo>
                      <a:lnTo>
                        <a:pt x="438" y="340"/>
                      </a:lnTo>
                      <a:lnTo>
                        <a:pt x="453" y="350"/>
                      </a:lnTo>
                      <a:lnTo>
                        <a:pt x="471" y="363"/>
                      </a:lnTo>
                      <a:lnTo>
                        <a:pt x="466" y="381"/>
                      </a:lnTo>
                      <a:lnTo>
                        <a:pt x="453" y="397"/>
                      </a:lnTo>
                      <a:lnTo>
                        <a:pt x="435" y="415"/>
                      </a:lnTo>
                      <a:lnTo>
                        <a:pt x="417" y="422"/>
                      </a:lnTo>
                      <a:lnTo>
                        <a:pt x="402" y="440"/>
                      </a:lnTo>
                      <a:lnTo>
                        <a:pt x="409" y="453"/>
                      </a:lnTo>
                      <a:lnTo>
                        <a:pt x="407" y="476"/>
                      </a:lnTo>
                      <a:lnTo>
                        <a:pt x="404" y="494"/>
                      </a:lnTo>
                      <a:lnTo>
                        <a:pt x="384" y="502"/>
                      </a:lnTo>
                      <a:lnTo>
                        <a:pt x="360" y="497"/>
                      </a:lnTo>
                      <a:lnTo>
                        <a:pt x="353" y="481"/>
                      </a:lnTo>
                      <a:lnTo>
                        <a:pt x="345" y="466"/>
                      </a:lnTo>
                      <a:lnTo>
                        <a:pt x="329" y="484"/>
                      </a:lnTo>
                      <a:lnTo>
                        <a:pt x="317" y="507"/>
                      </a:lnTo>
                      <a:lnTo>
                        <a:pt x="304" y="530"/>
                      </a:lnTo>
                      <a:lnTo>
                        <a:pt x="283" y="533"/>
                      </a:lnTo>
                      <a:lnTo>
                        <a:pt x="270" y="556"/>
                      </a:lnTo>
                      <a:lnTo>
                        <a:pt x="268" y="577"/>
                      </a:lnTo>
                      <a:lnTo>
                        <a:pt x="265" y="595"/>
                      </a:lnTo>
                      <a:lnTo>
                        <a:pt x="244" y="605"/>
                      </a:lnTo>
                      <a:lnTo>
                        <a:pt x="226" y="613"/>
                      </a:lnTo>
                      <a:lnTo>
                        <a:pt x="208" y="623"/>
                      </a:lnTo>
                      <a:lnTo>
                        <a:pt x="183" y="615"/>
                      </a:lnTo>
                      <a:lnTo>
                        <a:pt x="165" y="605"/>
                      </a:lnTo>
                      <a:lnTo>
                        <a:pt x="172" y="595"/>
                      </a:lnTo>
                      <a:lnTo>
                        <a:pt x="175" y="574"/>
                      </a:lnTo>
                      <a:lnTo>
                        <a:pt x="157" y="561"/>
                      </a:lnTo>
                      <a:lnTo>
                        <a:pt x="136" y="564"/>
                      </a:lnTo>
                      <a:lnTo>
                        <a:pt x="113" y="566"/>
                      </a:lnTo>
                      <a:lnTo>
                        <a:pt x="90" y="569"/>
                      </a:lnTo>
                      <a:lnTo>
                        <a:pt x="69" y="577"/>
                      </a:lnTo>
                      <a:lnTo>
                        <a:pt x="54" y="566"/>
                      </a:lnTo>
                      <a:lnTo>
                        <a:pt x="57" y="548"/>
                      </a:lnTo>
                      <a:lnTo>
                        <a:pt x="51" y="533"/>
                      </a:lnTo>
                      <a:lnTo>
                        <a:pt x="54" y="512"/>
                      </a:lnTo>
                      <a:lnTo>
                        <a:pt x="46" y="499"/>
                      </a:lnTo>
                      <a:lnTo>
                        <a:pt x="49" y="479"/>
                      </a:lnTo>
                      <a:lnTo>
                        <a:pt x="69" y="469"/>
                      </a:lnTo>
                      <a:lnTo>
                        <a:pt x="82" y="453"/>
                      </a:lnTo>
                      <a:lnTo>
                        <a:pt x="77" y="440"/>
                      </a:lnTo>
                      <a:lnTo>
                        <a:pt x="69" y="422"/>
                      </a:lnTo>
                      <a:lnTo>
                        <a:pt x="85" y="407"/>
                      </a:lnTo>
                      <a:lnTo>
                        <a:pt x="80" y="391"/>
                      </a:lnTo>
                      <a:lnTo>
                        <a:pt x="62" y="381"/>
                      </a:lnTo>
                      <a:lnTo>
                        <a:pt x="54" y="366"/>
                      </a:lnTo>
                      <a:lnTo>
                        <a:pt x="59" y="348"/>
                      </a:lnTo>
                      <a:lnTo>
                        <a:pt x="75" y="330"/>
                      </a:lnTo>
                      <a:lnTo>
                        <a:pt x="85" y="306"/>
                      </a:lnTo>
                      <a:lnTo>
                        <a:pt x="80" y="291"/>
                      </a:lnTo>
                      <a:lnTo>
                        <a:pt x="62" y="281"/>
                      </a:lnTo>
                      <a:lnTo>
                        <a:pt x="39" y="283"/>
                      </a:lnTo>
                      <a:lnTo>
                        <a:pt x="33" y="268"/>
                      </a:lnTo>
                      <a:lnTo>
                        <a:pt x="18" y="257"/>
                      </a:lnTo>
                      <a:lnTo>
                        <a:pt x="10" y="242"/>
                      </a:lnTo>
                      <a:lnTo>
                        <a:pt x="20" y="237"/>
                      </a:lnTo>
                      <a:lnTo>
                        <a:pt x="15" y="229"/>
                      </a:lnTo>
                      <a:lnTo>
                        <a:pt x="0" y="221"/>
                      </a:lnTo>
                      <a:lnTo>
                        <a:pt x="10" y="196"/>
                      </a:lnTo>
                      <a:lnTo>
                        <a:pt x="33" y="196"/>
                      </a:lnTo>
                      <a:lnTo>
                        <a:pt x="69" y="196"/>
                      </a:lnTo>
                      <a:lnTo>
                        <a:pt x="95" y="201"/>
                      </a:lnTo>
                      <a:lnTo>
                        <a:pt x="111" y="185"/>
                      </a:lnTo>
                      <a:lnTo>
                        <a:pt x="121" y="162"/>
                      </a:lnTo>
                      <a:lnTo>
                        <a:pt x="141" y="152"/>
                      </a:lnTo>
                      <a:lnTo>
                        <a:pt x="165" y="149"/>
                      </a:lnTo>
                      <a:lnTo>
                        <a:pt x="180" y="134"/>
                      </a:lnTo>
                      <a:lnTo>
                        <a:pt x="183" y="116"/>
                      </a:lnTo>
                      <a:lnTo>
                        <a:pt x="206" y="113"/>
                      </a:lnTo>
                      <a:lnTo>
                        <a:pt x="219" y="98"/>
                      </a:lnTo>
                      <a:lnTo>
                        <a:pt x="239" y="88"/>
                      </a:lnTo>
                      <a:lnTo>
                        <a:pt x="268" y="75"/>
                      </a:lnTo>
                      <a:lnTo>
                        <a:pt x="288" y="67"/>
                      </a:lnTo>
                      <a:lnTo>
                        <a:pt x="306" y="57"/>
                      </a:lnTo>
                      <a:lnTo>
                        <a:pt x="327" y="49"/>
                      </a:lnTo>
                      <a:lnTo>
                        <a:pt x="342" y="39"/>
                      </a:lnTo>
                      <a:lnTo>
                        <a:pt x="368" y="39"/>
                      </a:lnTo>
                      <a:lnTo>
                        <a:pt x="353" y="54"/>
                      </a:lnTo>
                      <a:lnTo>
                        <a:pt x="358" y="70"/>
                      </a:lnTo>
                      <a:lnTo>
                        <a:pt x="376" y="59"/>
                      </a:lnTo>
                      <a:lnTo>
                        <a:pt x="396" y="52"/>
                      </a:lnTo>
                      <a:lnTo>
                        <a:pt x="412" y="33"/>
                      </a:lnTo>
                      <a:lnTo>
                        <a:pt x="427" y="18"/>
                      </a:lnTo>
                      <a:lnTo>
                        <a:pt x="445" y="8"/>
                      </a:lnTo>
                      <a:lnTo>
                        <a:pt x="463" y="0"/>
                      </a:lnTo>
                      <a:lnTo>
                        <a:pt x="463" y="18"/>
                      </a:lnTo>
                      <a:lnTo>
                        <a:pt x="448" y="36"/>
                      </a:lnTo>
                      <a:lnTo>
                        <a:pt x="432" y="52"/>
                      </a:lnTo>
                      <a:lnTo>
                        <a:pt x="430" y="72"/>
                      </a:lnTo>
                      <a:lnTo>
                        <a:pt x="445" y="82"/>
                      </a:lnTo>
                      <a:lnTo>
                        <a:pt x="479" y="77"/>
                      </a:lnTo>
                      <a:lnTo>
                        <a:pt x="499" y="75"/>
                      </a:lnTo>
                      <a:lnTo>
                        <a:pt x="515" y="85"/>
                      </a:lnTo>
                      <a:lnTo>
                        <a:pt x="523" y="100"/>
                      </a:lnTo>
                      <a:lnTo>
                        <a:pt x="530" y="116"/>
                      </a:lnTo>
                      <a:lnTo>
                        <a:pt x="535" y="129"/>
                      </a:lnTo>
                      <a:lnTo>
                        <a:pt x="559" y="129"/>
                      </a:lnTo>
                      <a:lnTo>
                        <a:pt x="569" y="152"/>
                      </a:lnTo>
                      <a:lnTo>
                        <a:pt x="582" y="154"/>
                      </a:lnTo>
                      <a:lnTo>
                        <a:pt x="584" y="160"/>
                      </a:lnTo>
                      <a:close/>
                    </a:path>
                  </a:pathLst>
                </a:custGeom>
                <a:solidFill>
                  <a:srgbClr val="7C7C7C"/>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sp>
              <p:nvSpPr>
                <p:cNvPr id="40" name="Freeform 18">
                  <a:extLst>
                    <a:ext uri="{FF2B5EF4-FFF2-40B4-BE49-F238E27FC236}">
                      <a16:creationId xmlns:a16="http://schemas.microsoft.com/office/drawing/2014/main" id="{458F19C3-5D17-A067-2752-785BEA3C74D5}"/>
                    </a:ext>
                  </a:extLst>
                </p:cNvPr>
                <p:cNvSpPr>
                  <a:spLocks/>
                </p:cNvSpPr>
                <p:nvPr/>
              </p:nvSpPr>
              <p:spPr bwMode="auto">
                <a:xfrm>
                  <a:off x="2620499" y="1691261"/>
                  <a:ext cx="623063" cy="579066"/>
                </a:xfrm>
                <a:custGeom>
                  <a:avLst/>
                  <a:gdLst>
                    <a:gd name="T0" fmla="*/ 2147483646 w 878"/>
                    <a:gd name="T1" fmla="*/ 2147483646 h 816"/>
                    <a:gd name="T2" fmla="*/ 2147483646 w 878"/>
                    <a:gd name="T3" fmla="*/ 2147483646 h 816"/>
                    <a:gd name="T4" fmla="*/ 2147483646 w 878"/>
                    <a:gd name="T5" fmla="*/ 2147483646 h 816"/>
                    <a:gd name="T6" fmla="*/ 2147483646 w 878"/>
                    <a:gd name="T7" fmla="*/ 2147483646 h 816"/>
                    <a:gd name="T8" fmla="*/ 2147483646 w 878"/>
                    <a:gd name="T9" fmla="*/ 2147483646 h 816"/>
                    <a:gd name="T10" fmla="*/ 2147483646 w 878"/>
                    <a:gd name="T11" fmla="*/ 2147483646 h 816"/>
                    <a:gd name="T12" fmla="*/ 2147483646 w 878"/>
                    <a:gd name="T13" fmla="*/ 2147483646 h 816"/>
                    <a:gd name="T14" fmla="*/ 2147483646 w 878"/>
                    <a:gd name="T15" fmla="*/ 2147483646 h 816"/>
                    <a:gd name="T16" fmla="*/ 2147483646 w 878"/>
                    <a:gd name="T17" fmla="*/ 2147483646 h 816"/>
                    <a:gd name="T18" fmla="*/ 2147483646 w 878"/>
                    <a:gd name="T19" fmla="*/ 2147483646 h 816"/>
                    <a:gd name="T20" fmla="*/ 2147483646 w 878"/>
                    <a:gd name="T21" fmla="*/ 2147483646 h 816"/>
                    <a:gd name="T22" fmla="*/ 2147483646 w 878"/>
                    <a:gd name="T23" fmla="*/ 2147483646 h 816"/>
                    <a:gd name="T24" fmla="*/ 2147483646 w 878"/>
                    <a:gd name="T25" fmla="*/ 2147483646 h 816"/>
                    <a:gd name="T26" fmla="*/ 2147483646 w 878"/>
                    <a:gd name="T27" fmla="*/ 2147483646 h 816"/>
                    <a:gd name="T28" fmla="*/ 2147483646 w 878"/>
                    <a:gd name="T29" fmla="*/ 2147483646 h 816"/>
                    <a:gd name="T30" fmla="*/ 2147483646 w 878"/>
                    <a:gd name="T31" fmla="*/ 2147483646 h 816"/>
                    <a:gd name="T32" fmla="*/ 2147483646 w 878"/>
                    <a:gd name="T33" fmla="*/ 2147483646 h 816"/>
                    <a:gd name="T34" fmla="*/ 2147483646 w 878"/>
                    <a:gd name="T35" fmla="*/ 0 h 816"/>
                    <a:gd name="T36" fmla="*/ 2147483646 w 878"/>
                    <a:gd name="T37" fmla="*/ 0 h 816"/>
                    <a:gd name="T38" fmla="*/ 2147483646 w 878"/>
                    <a:gd name="T39" fmla="*/ 2147483646 h 816"/>
                    <a:gd name="T40" fmla="*/ 2147483646 w 878"/>
                    <a:gd name="T41" fmla="*/ 2147483646 h 816"/>
                    <a:gd name="T42" fmla="*/ 2147483646 w 878"/>
                    <a:gd name="T43" fmla="*/ 2147483646 h 816"/>
                    <a:gd name="T44" fmla="*/ 2147483646 w 878"/>
                    <a:gd name="T45" fmla="*/ 2147483646 h 816"/>
                    <a:gd name="T46" fmla="*/ 2147483646 w 878"/>
                    <a:gd name="T47" fmla="*/ 2147483646 h 816"/>
                    <a:gd name="T48" fmla="*/ 2147483646 w 878"/>
                    <a:gd name="T49" fmla="*/ 2147483646 h 816"/>
                    <a:gd name="T50" fmla="*/ 2147483646 w 878"/>
                    <a:gd name="T51" fmla="*/ 2147483646 h 816"/>
                    <a:gd name="T52" fmla="*/ 2147483646 w 878"/>
                    <a:gd name="T53" fmla="*/ 2147483646 h 816"/>
                    <a:gd name="T54" fmla="*/ 2147483646 w 878"/>
                    <a:gd name="T55" fmla="*/ 2147483646 h 816"/>
                    <a:gd name="T56" fmla="*/ 2147483646 w 878"/>
                    <a:gd name="T57" fmla="*/ 2147483646 h 816"/>
                    <a:gd name="T58" fmla="*/ 2147483646 w 878"/>
                    <a:gd name="T59" fmla="*/ 2147483646 h 816"/>
                    <a:gd name="T60" fmla="*/ 2147483646 w 878"/>
                    <a:gd name="T61" fmla="*/ 2147483646 h 816"/>
                    <a:gd name="T62" fmla="*/ 2147483646 w 878"/>
                    <a:gd name="T63" fmla="*/ 2147483646 h 816"/>
                    <a:gd name="T64" fmla="*/ 2147483646 w 878"/>
                    <a:gd name="T65" fmla="*/ 2147483646 h 816"/>
                    <a:gd name="T66" fmla="*/ 2147483646 w 878"/>
                    <a:gd name="T67" fmla="*/ 2147483646 h 816"/>
                    <a:gd name="T68" fmla="*/ 2147483646 w 878"/>
                    <a:gd name="T69" fmla="*/ 2147483646 h 816"/>
                    <a:gd name="T70" fmla="*/ 2147483646 w 878"/>
                    <a:gd name="T71" fmla="*/ 2147483646 h 816"/>
                    <a:gd name="T72" fmla="*/ 2147483646 w 878"/>
                    <a:gd name="T73" fmla="*/ 2147483646 h 816"/>
                    <a:gd name="T74" fmla="*/ 2147483646 w 878"/>
                    <a:gd name="T75" fmla="*/ 2147483646 h 816"/>
                    <a:gd name="T76" fmla="*/ 2147483646 w 878"/>
                    <a:gd name="T77" fmla="*/ 2147483646 h 816"/>
                    <a:gd name="T78" fmla="*/ 2147483646 w 878"/>
                    <a:gd name="T79" fmla="*/ 2147483646 h 816"/>
                    <a:gd name="T80" fmla="*/ 2147483646 w 878"/>
                    <a:gd name="T81" fmla="*/ 2147483646 h 816"/>
                    <a:gd name="T82" fmla="*/ 2147483646 w 878"/>
                    <a:gd name="T83" fmla="*/ 2147483646 h 816"/>
                    <a:gd name="T84" fmla="*/ 0 w 878"/>
                    <a:gd name="T85" fmla="*/ 2147483646 h 816"/>
                    <a:gd name="T86" fmla="*/ 2147483646 w 878"/>
                    <a:gd name="T87" fmla="*/ 2147483646 h 816"/>
                    <a:gd name="T88" fmla="*/ 2147483646 w 878"/>
                    <a:gd name="T89" fmla="*/ 2147483646 h 816"/>
                    <a:gd name="T90" fmla="*/ 2147483646 w 878"/>
                    <a:gd name="T91" fmla="*/ 2147483646 h 816"/>
                    <a:gd name="T92" fmla="*/ 2147483646 w 878"/>
                    <a:gd name="T93" fmla="*/ 2147483646 h 816"/>
                    <a:gd name="T94" fmla="*/ 2147483646 w 878"/>
                    <a:gd name="T95" fmla="*/ 2147483646 h 816"/>
                    <a:gd name="T96" fmla="*/ 2147483646 w 878"/>
                    <a:gd name="T97" fmla="*/ 2147483646 h 816"/>
                    <a:gd name="T98" fmla="*/ 2147483646 w 878"/>
                    <a:gd name="T99" fmla="*/ 2147483646 h 816"/>
                    <a:gd name="T100" fmla="*/ 2147483646 w 878"/>
                    <a:gd name="T101" fmla="*/ 2147483646 h 816"/>
                    <a:gd name="T102" fmla="*/ 2147483646 w 878"/>
                    <a:gd name="T103" fmla="*/ 2147483646 h 816"/>
                    <a:gd name="T104" fmla="*/ 2147483646 w 878"/>
                    <a:gd name="T105" fmla="*/ 2147483646 h 816"/>
                    <a:gd name="T106" fmla="*/ 2147483646 w 878"/>
                    <a:gd name="T107" fmla="*/ 2147483646 h 816"/>
                    <a:gd name="T108" fmla="*/ 2147483646 w 878"/>
                    <a:gd name="T109" fmla="*/ 2147483646 h 816"/>
                    <a:gd name="T110" fmla="*/ 2147483646 w 878"/>
                    <a:gd name="T111" fmla="*/ 2147483646 h 816"/>
                    <a:gd name="T112" fmla="*/ 2147483646 w 878"/>
                    <a:gd name="T113" fmla="*/ 2147483646 h 816"/>
                    <a:gd name="T114" fmla="*/ 2147483646 w 878"/>
                    <a:gd name="T115" fmla="*/ 2147483646 h 816"/>
                    <a:gd name="T116" fmla="*/ 2147483646 w 878"/>
                    <a:gd name="T117" fmla="*/ 2147483646 h 816"/>
                    <a:gd name="T118" fmla="*/ 2147483646 w 878"/>
                    <a:gd name="T119" fmla="*/ 2147483646 h 816"/>
                    <a:gd name="T120" fmla="*/ 2147483646 w 878"/>
                    <a:gd name="T121" fmla="*/ 2147483646 h 816"/>
                    <a:gd name="T122" fmla="*/ 2147483646 w 878"/>
                    <a:gd name="T123" fmla="*/ 2147483646 h 81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878" h="816">
                      <a:moveTo>
                        <a:pt x="865" y="662"/>
                      </a:moveTo>
                      <a:lnTo>
                        <a:pt x="847" y="649"/>
                      </a:lnTo>
                      <a:lnTo>
                        <a:pt x="844" y="641"/>
                      </a:lnTo>
                      <a:lnTo>
                        <a:pt x="819" y="636"/>
                      </a:lnTo>
                      <a:lnTo>
                        <a:pt x="801" y="628"/>
                      </a:lnTo>
                      <a:lnTo>
                        <a:pt x="803" y="602"/>
                      </a:lnTo>
                      <a:lnTo>
                        <a:pt x="788" y="597"/>
                      </a:lnTo>
                      <a:lnTo>
                        <a:pt x="767" y="597"/>
                      </a:lnTo>
                      <a:lnTo>
                        <a:pt x="744" y="582"/>
                      </a:lnTo>
                      <a:lnTo>
                        <a:pt x="705" y="566"/>
                      </a:lnTo>
                      <a:lnTo>
                        <a:pt x="687" y="551"/>
                      </a:lnTo>
                      <a:lnTo>
                        <a:pt x="685" y="536"/>
                      </a:lnTo>
                      <a:lnTo>
                        <a:pt x="667" y="533"/>
                      </a:lnTo>
                      <a:lnTo>
                        <a:pt x="651" y="510"/>
                      </a:lnTo>
                      <a:lnTo>
                        <a:pt x="646" y="487"/>
                      </a:lnTo>
                      <a:lnTo>
                        <a:pt x="644" y="474"/>
                      </a:lnTo>
                      <a:lnTo>
                        <a:pt x="651" y="451"/>
                      </a:lnTo>
                      <a:lnTo>
                        <a:pt x="649" y="427"/>
                      </a:lnTo>
                      <a:lnTo>
                        <a:pt x="641" y="415"/>
                      </a:lnTo>
                      <a:lnTo>
                        <a:pt x="641" y="402"/>
                      </a:lnTo>
                      <a:lnTo>
                        <a:pt x="656" y="384"/>
                      </a:lnTo>
                      <a:lnTo>
                        <a:pt x="667" y="360"/>
                      </a:lnTo>
                      <a:lnTo>
                        <a:pt x="687" y="353"/>
                      </a:lnTo>
                      <a:lnTo>
                        <a:pt x="690" y="332"/>
                      </a:lnTo>
                      <a:lnTo>
                        <a:pt x="675" y="319"/>
                      </a:lnTo>
                      <a:lnTo>
                        <a:pt x="651" y="322"/>
                      </a:lnTo>
                      <a:lnTo>
                        <a:pt x="628" y="324"/>
                      </a:lnTo>
                      <a:lnTo>
                        <a:pt x="608" y="327"/>
                      </a:lnTo>
                      <a:lnTo>
                        <a:pt x="584" y="335"/>
                      </a:lnTo>
                      <a:lnTo>
                        <a:pt x="569" y="324"/>
                      </a:lnTo>
                      <a:lnTo>
                        <a:pt x="574" y="306"/>
                      </a:lnTo>
                      <a:lnTo>
                        <a:pt x="566" y="291"/>
                      </a:lnTo>
                      <a:lnTo>
                        <a:pt x="569" y="270"/>
                      </a:lnTo>
                      <a:lnTo>
                        <a:pt x="564" y="257"/>
                      </a:lnTo>
                      <a:lnTo>
                        <a:pt x="564" y="237"/>
                      </a:lnTo>
                      <a:lnTo>
                        <a:pt x="584" y="227"/>
                      </a:lnTo>
                      <a:lnTo>
                        <a:pt x="600" y="211"/>
                      </a:lnTo>
                      <a:lnTo>
                        <a:pt x="592" y="198"/>
                      </a:lnTo>
                      <a:lnTo>
                        <a:pt x="584" y="180"/>
                      </a:lnTo>
                      <a:lnTo>
                        <a:pt x="602" y="165"/>
                      </a:lnTo>
                      <a:lnTo>
                        <a:pt x="595" y="149"/>
                      </a:lnTo>
                      <a:lnTo>
                        <a:pt x="577" y="139"/>
                      </a:lnTo>
                      <a:lnTo>
                        <a:pt x="572" y="124"/>
                      </a:lnTo>
                      <a:lnTo>
                        <a:pt x="574" y="106"/>
                      </a:lnTo>
                      <a:lnTo>
                        <a:pt x="590" y="88"/>
                      </a:lnTo>
                      <a:lnTo>
                        <a:pt x="602" y="64"/>
                      </a:lnTo>
                      <a:lnTo>
                        <a:pt x="595" y="49"/>
                      </a:lnTo>
                      <a:lnTo>
                        <a:pt x="577" y="39"/>
                      </a:lnTo>
                      <a:lnTo>
                        <a:pt x="556" y="41"/>
                      </a:lnTo>
                      <a:lnTo>
                        <a:pt x="548" y="26"/>
                      </a:lnTo>
                      <a:lnTo>
                        <a:pt x="533" y="15"/>
                      </a:lnTo>
                      <a:lnTo>
                        <a:pt x="525" y="0"/>
                      </a:lnTo>
                      <a:lnTo>
                        <a:pt x="507" y="18"/>
                      </a:lnTo>
                      <a:lnTo>
                        <a:pt x="489" y="0"/>
                      </a:lnTo>
                      <a:lnTo>
                        <a:pt x="466" y="0"/>
                      </a:lnTo>
                      <a:lnTo>
                        <a:pt x="443" y="0"/>
                      </a:lnTo>
                      <a:lnTo>
                        <a:pt x="430" y="18"/>
                      </a:lnTo>
                      <a:lnTo>
                        <a:pt x="417" y="41"/>
                      </a:lnTo>
                      <a:lnTo>
                        <a:pt x="414" y="59"/>
                      </a:lnTo>
                      <a:lnTo>
                        <a:pt x="412" y="82"/>
                      </a:lnTo>
                      <a:lnTo>
                        <a:pt x="432" y="100"/>
                      </a:lnTo>
                      <a:lnTo>
                        <a:pt x="438" y="113"/>
                      </a:lnTo>
                      <a:lnTo>
                        <a:pt x="445" y="129"/>
                      </a:lnTo>
                      <a:lnTo>
                        <a:pt x="453" y="144"/>
                      </a:lnTo>
                      <a:lnTo>
                        <a:pt x="451" y="165"/>
                      </a:lnTo>
                      <a:lnTo>
                        <a:pt x="435" y="180"/>
                      </a:lnTo>
                      <a:lnTo>
                        <a:pt x="404" y="165"/>
                      </a:lnTo>
                      <a:lnTo>
                        <a:pt x="396" y="152"/>
                      </a:lnTo>
                      <a:lnTo>
                        <a:pt x="378" y="134"/>
                      </a:lnTo>
                      <a:lnTo>
                        <a:pt x="355" y="134"/>
                      </a:lnTo>
                      <a:lnTo>
                        <a:pt x="342" y="157"/>
                      </a:lnTo>
                      <a:lnTo>
                        <a:pt x="327" y="149"/>
                      </a:lnTo>
                      <a:lnTo>
                        <a:pt x="301" y="142"/>
                      </a:lnTo>
                      <a:lnTo>
                        <a:pt x="283" y="149"/>
                      </a:lnTo>
                      <a:lnTo>
                        <a:pt x="265" y="142"/>
                      </a:lnTo>
                      <a:lnTo>
                        <a:pt x="245" y="124"/>
                      </a:lnTo>
                      <a:lnTo>
                        <a:pt x="239" y="106"/>
                      </a:lnTo>
                      <a:lnTo>
                        <a:pt x="232" y="93"/>
                      </a:lnTo>
                      <a:lnTo>
                        <a:pt x="224" y="77"/>
                      </a:lnTo>
                      <a:lnTo>
                        <a:pt x="203" y="80"/>
                      </a:lnTo>
                      <a:lnTo>
                        <a:pt x="201" y="100"/>
                      </a:lnTo>
                      <a:lnTo>
                        <a:pt x="211" y="121"/>
                      </a:lnTo>
                      <a:lnTo>
                        <a:pt x="208" y="142"/>
                      </a:lnTo>
                      <a:lnTo>
                        <a:pt x="196" y="165"/>
                      </a:lnTo>
                      <a:lnTo>
                        <a:pt x="178" y="175"/>
                      </a:lnTo>
                      <a:lnTo>
                        <a:pt x="175" y="193"/>
                      </a:lnTo>
                      <a:lnTo>
                        <a:pt x="170" y="211"/>
                      </a:lnTo>
                      <a:lnTo>
                        <a:pt x="157" y="229"/>
                      </a:lnTo>
                      <a:lnTo>
                        <a:pt x="154" y="247"/>
                      </a:lnTo>
                      <a:lnTo>
                        <a:pt x="149" y="268"/>
                      </a:lnTo>
                      <a:lnTo>
                        <a:pt x="147" y="286"/>
                      </a:lnTo>
                      <a:lnTo>
                        <a:pt x="147" y="306"/>
                      </a:lnTo>
                      <a:lnTo>
                        <a:pt x="142" y="327"/>
                      </a:lnTo>
                      <a:lnTo>
                        <a:pt x="131" y="350"/>
                      </a:lnTo>
                      <a:lnTo>
                        <a:pt x="113" y="360"/>
                      </a:lnTo>
                      <a:lnTo>
                        <a:pt x="95" y="350"/>
                      </a:lnTo>
                      <a:lnTo>
                        <a:pt x="98" y="330"/>
                      </a:lnTo>
                      <a:lnTo>
                        <a:pt x="90" y="314"/>
                      </a:lnTo>
                      <a:lnTo>
                        <a:pt x="85" y="301"/>
                      </a:lnTo>
                      <a:lnTo>
                        <a:pt x="87" y="281"/>
                      </a:lnTo>
                      <a:lnTo>
                        <a:pt x="80" y="265"/>
                      </a:lnTo>
                      <a:lnTo>
                        <a:pt x="57" y="265"/>
                      </a:lnTo>
                      <a:lnTo>
                        <a:pt x="41" y="260"/>
                      </a:lnTo>
                      <a:lnTo>
                        <a:pt x="44" y="263"/>
                      </a:lnTo>
                      <a:lnTo>
                        <a:pt x="51" y="278"/>
                      </a:lnTo>
                      <a:lnTo>
                        <a:pt x="49" y="296"/>
                      </a:lnTo>
                      <a:lnTo>
                        <a:pt x="33" y="314"/>
                      </a:lnTo>
                      <a:lnTo>
                        <a:pt x="15" y="330"/>
                      </a:lnTo>
                      <a:lnTo>
                        <a:pt x="23" y="345"/>
                      </a:lnTo>
                      <a:lnTo>
                        <a:pt x="23" y="366"/>
                      </a:lnTo>
                      <a:lnTo>
                        <a:pt x="5" y="381"/>
                      </a:lnTo>
                      <a:lnTo>
                        <a:pt x="13" y="397"/>
                      </a:lnTo>
                      <a:lnTo>
                        <a:pt x="21" y="412"/>
                      </a:lnTo>
                      <a:lnTo>
                        <a:pt x="18" y="430"/>
                      </a:lnTo>
                      <a:lnTo>
                        <a:pt x="23" y="445"/>
                      </a:lnTo>
                      <a:lnTo>
                        <a:pt x="31" y="461"/>
                      </a:lnTo>
                      <a:lnTo>
                        <a:pt x="39" y="476"/>
                      </a:lnTo>
                      <a:lnTo>
                        <a:pt x="44" y="492"/>
                      </a:lnTo>
                      <a:lnTo>
                        <a:pt x="75" y="505"/>
                      </a:lnTo>
                      <a:lnTo>
                        <a:pt x="90" y="515"/>
                      </a:lnTo>
                      <a:lnTo>
                        <a:pt x="90" y="533"/>
                      </a:lnTo>
                      <a:lnTo>
                        <a:pt x="72" y="551"/>
                      </a:lnTo>
                      <a:lnTo>
                        <a:pt x="75" y="577"/>
                      </a:lnTo>
                      <a:lnTo>
                        <a:pt x="54" y="584"/>
                      </a:lnTo>
                      <a:lnTo>
                        <a:pt x="18" y="584"/>
                      </a:lnTo>
                      <a:lnTo>
                        <a:pt x="0" y="592"/>
                      </a:lnTo>
                      <a:lnTo>
                        <a:pt x="0" y="620"/>
                      </a:lnTo>
                      <a:lnTo>
                        <a:pt x="10" y="644"/>
                      </a:lnTo>
                      <a:lnTo>
                        <a:pt x="10" y="662"/>
                      </a:lnTo>
                      <a:lnTo>
                        <a:pt x="15" y="677"/>
                      </a:lnTo>
                      <a:lnTo>
                        <a:pt x="41" y="685"/>
                      </a:lnTo>
                      <a:lnTo>
                        <a:pt x="57" y="695"/>
                      </a:lnTo>
                      <a:lnTo>
                        <a:pt x="82" y="700"/>
                      </a:lnTo>
                      <a:lnTo>
                        <a:pt x="103" y="693"/>
                      </a:lnTo>
                      <a:lnTo>
                        <a:pt x="121" y="708"/>
                      </a:lnTo>
                      <a:lnTo>
                        <a:pt x="139" y="721"/>
                      </a:lnTo>
                      <a:lnTo>
                        <a:pt x="160" y="739"/>
                      </a:lnTo>
                      <a:lnTo>
                        <a:pt x="162" y="744"/>
                      </a:lnTo>
                      <a:lnTo>
                        <a:pt x="170" y="760"/>
                      </a:lnTo>
                      <a:lnTo>
                        <a:pt x="190" y="778"/>
                      </a:lnTo>
                      <a:lnTo>
                        <a:pt x="208" y="770"/>
                      </a:lnTo>
                      <a:lnTo>
                        <a:pt x="224" y="780"/>
                      </a:lnTo>
                      <a:lnTo>
                        <a:pt x="242" y="790"/>
                      </a:lnTo>
                      <a:lnTo>
                        <a:pt x="260" y="808"/>
                      </a:lnTo>
                      <a:lnTo>
                        <a:pt x="268" y="814"/>
                      </a:lnTo>
                      <a:lnTo>
                        <a:pt x="273" y="816"/>
                      </a:lnTo>
                      <a:lnTo>
                        <a:pt x="283" y="806"/>
                      </a:lnTo>
                      <a:lnTo>
                        <a:pt x="296" y="816"/>
                      </a:lnTo>
                      <a:lnTo>
                        <a:pt x="288" y="772"/>
                      </a:lnTo>
                      <a:lnTo>
                        <a:pt x="275" y="757"/>
                      </a:lnTo>
                      <a:lnTo>
                        <a:pt x="268" y="741"/>
                      </a:lnTo>
                      <a:lnTo>
                        <a:pt x="268" y="723"/>
                      </a:lnTo>
                      <a:lnTo>
                        <a:pt x="275" y="693"/>
                      </a:lnTo>
                      <a:lnTo>
                        <a:pt x="278" y="669"/>
                      </a:lnTo>
                      <a:lnTo>
                        <a:pt x="296" y="662"/>
                      </a:lnTo>
                      <a:lnTo>
                        <a:pt x="317" y="654"/>
                      </a:lnTo>
                      <a:lnTo>
                        <a:pt x="335" y="644"/>
                      </a:lnTo>
                      <a:lnTo>
                        <a:pt x="353" y="657"/>
                      </a:lnTo>
                      <a:lnTo>
                        <a:pt x="368" y="664"/>
                      </a:lnTo>
                      <a:lnTo>
                        <a:pt x="391" y="664"/>
                      </a:lnTo>
                      <a:lnTo>
                        <a:pt x="407" y="649"/>
                      </a:lnTo>
                      <a:lnTo>
                        <a:pt x="425" y="639"/>
                      </a:lnTo>
                      <a:lnTo>
                        <a:pt x="453" y="644"/>
                      </a:lnTo>
                      <a:lnTo>
                        <a:pt x="471" y="662"/>
                      </a:lnTo>
                      <a:lnTo>
                        <a:pt x="487" y="672"/>
                      </a:lnTo>
                      <a:lnTo>
                        <a:pt x="512" y="680"/>
                      </a:lnTo>
                      <a:lnTo>
                        <a:pt x="535" y="677"/>
                      </a:lnTo>
                      <a:lnTo>
                        <a:pt x="566" y="693"/>
                      </a:lnTo>
                      <a:lnTo>
                        <a:pt x="592" y="698"/>
                      </a:lnTo>
                      <a:lnTo>
                        <a:pt x="597" y="713"/>
                      </a:lnTo>
                      <a:lnTo>
                        <a:pt x="618" y="703"/>
                      </a:lnTo>
                      <a:lnTo>
                        <a:pt x="633" y="687"/>
                      </a:lnTo>
                      <a:lnTo>
                        <a:pt x="651" y="677"/>
                      </a:lnTo>
                      <a:lnTo>
                        <a:pt x="675" y="677"/>
                      </a:lnTo>
                      <a:lnTo>
                        <a:pt x="693" y="685"/>
                      </a:lnTo>
                      <a:lnTo>
                        <a:pt x="698" y="703"/>
                      </a:lnTo>
                      <a:lnTo>
                        <a:pt x="718" y="700"/>
                      </a:lnTo>
                      <a:lnTo>
                        <a:pt x="736" y="682"/>
                      </a:lnTo>
                      <a:lnTo>
                        <a:pt x="754" y="675"/>
                      </a:lnTo>
                      <a:lnTo>
                        <a:pt x="780" y="682"/>
                      </a:lnTo>
                      <a:lnTo>
                        <a:pt x="798" y="693"/>
                      </a:lnTo>
                      <a:lnTo>
                        <a:pt x="816" y="682"/>
                      </a:lnTo>
                      <a:lnTo>
                        <a:pt x="834" y="672"/>
                      </a:lnTo>
                      <a:lnTo>
                        <a:pt x="857" y="672"/>
                      </a:lnTo>
                      <a:lnTo>
                        <a:pt x="878" y="662"/>
                      </a:lnTo>
                      <a:lnTo>
                        <a:pt x="865" y="662"/>
                      </a:lnTo>
                      <a:close/>
                    </a:path>
                  </a:pathLst>
                </a:custGeom>
                <a:solidFill>
                  <a:srgbClr val="00155B"/>
                </a:solidFill>
                <a:ln w="3175">
                  <a:solidFill>
                    <a:schemeClr val="bg1"/>
                  </a:solidFill>
                  <a:round/>
                  <a:headEnd/>
                  <a:tailEnd/>
                </a:ln>
              </p:spPr>
              <p:txBody>
                <a:bodyPr/>
                <a:lstStyle/>
                <a:p>
                  <a:pPr defTabSz="914377"/>
                  <a:endParaRPr lang="it-IT" dirty="0">
                    <a:latin typeface="Univers Condensed" panose="020B0506020202050204" pitchFamily="34" charset="0"/>
                  </a:endParaRPr>
                </a:p>
              </p:txBody>
            </p:sp>
          </p:grpSp>
          <p:sp>
            <p:nvSpPr>
              <p:cNvPr id="10" name="Rettangolo 9">
                <a:extLst>
                  <a:ext uri="{FF2B5EF4-FFF2-40B4-BE49-F238E27FC236}">
                    <a16:creationId xmlns:a16="http://schemas.microsoft.com/office/drawing/2014/main" id="{AEC5B15E-6413-53BE-0FB2-83398118302C}"/>
                  </a:ext>
                </a:extLst>
              </p:cNvPr>
              <p:cNvSpPr/>
              <p:nvPr/>
            </p:nvSpPr>
            <p:spPr>
              <a:xfrm>
                <a:off x="6431687" y="1280140"/>
                <a:ext cx="2303343" cy="344218"/>
              </a:xfrm>
              <a:prstGeom prst="rect">
                <a:avLst/>
              </a:prstGeom>
            </p:spPr>
            <p:txBody>
              <a:bodyPr wrap="square">
                <a:spAutoFit/>
              </a:bodyPr>
              <a:lstStyle/>
              <a:p>
                <a:pPr algn="ctr"/>
                <a:r>
                  <a:rPr lang="it-IT" sz="900" b="1" i="0" dirty="0">
                    <a:effectLst/>
                    <a:latin typeface="Univers Condensed" panose="020B0506020202050204" pitchFamily="34" charset="0"/>
                  </a:rPr>
                  <a:t>MILANO</a:t>
                </a:r>
              </a:p>
            </p:txBody>
          </p:sp>
          <p:sp>
            <p:nvSpPr>
              <p:cNvPr id="11" name="Rettangolo 10">
                <a:extLst>
                  <a:ext uri="{FF2B5EF4-FFF2-40B4-BE49-F238E27FC236}">
                    <a16:creationId xmlns:a16="http://schemas.microsoft.com/office/drawing/2014/main" id="{4578EB0B-5EF7-0560-03B6-9D641EE0ADF2}"/>
                  </a:ext>
                </a:extLst>
              </p:cNvPr>
              <p:cNvSpPr/>
              <p:nvPr/>
            </p:nvSpPr>
            <p:spPr>
              <a:xfrm>
                <a:off x="8220969" y="2411115"/>
                <a:ext cx="2303343" cy="344218"/>
              </a:xfrm>
              <a:prstGeom prst="rect">
                <a:avLst/>
              </a:prstGeom>
            </p:spPr>
            <p:txBody>
              <a:bodyPr wrap="square">
                <a:spAutoFit/>
              </a:bodyPr>
              <a:lstStyle/>
              <a:p>
                <a:pPr algn="ctr"/>
                <a:r>
                  <a:rPr lang="it-IT" sz="900" b="1" i="0" dirty="0">
                    <a:effectLst/>
                    <a:latin typeface="Univers Condensed" panose="020B0506020202050204" pitchFamily="34" charset="0"/>
                  </a:rPr>
                  <a:t>BOLOGNA</a:t>
                </a:r>
              </a:p>
            </p:txBody>
          </p:sp>
          <p:sp>
            <p:nvSpPr>
              <p:cNvPr id="12" name="Rettangolo 11">
                <a:extLst>
                  <a:ext uri="{FF2B5EF4-FFF2-40B4-BE49-F238E27FC236}">
                    <a16:creationId xmlns:a16="http://schemas.microsoft.com/office/drawing/2014/main" id="{FB6A659D-E366-4664-2BAC-98F43BAEF2B1}"/>
                  </a:ext>
                </a:extLst>
              </p:cNvPr>
              <p:cNvSpPr/>
              <p:nvPr/>
            </p:nvSpPr>
            <p:spPr>
              <a:xfrm>
                <a:off x="8365999" y="4319120"/>
                <a:ext cx="2303344" cy="344218"/>
              </a:xfrm>
              <a:prstGeom prst="rect">
                <a:avLst/>
              </a:prstGeom>
            </p:spPr>
            <p:txBody>
              <a:bodyPr wrap="square">
                <a:spAutoFit/>
              </a:bodyPr>
              <a:lstStyle/>
              <a:p>
                <a:pPr algn="ctr"/>
                <a:r>
                  <a:rPr lang="it-IT" sz="900" b="1" dirty="0">
                    <a:latin typeface="Univers Condensed" panose="020B0506020202050204" pitchFamily="34" charset="0"/>
                  </a:rPr>
                  <a:t>NAPOLI</a:t>
                </a:r>
              </a:p>
            </p:txBody>
          </p:sp>
          <p:sp>
            <p:nvSpPr>
              <p:cNvPr id="13" name="Rettangolo 12">
                <a:extLst>
                  <a:ext uri="{FF2B5EF4-FFF2-40B4-BE49-F238E27FC236}">
                    <a16:creationId xmlns:a16="http://schemas.microsoft.com/office/drawing/2014/main" id="{C48FE6F3-1DF0-8ABA-2523-8B6A9F51B178}"/>
                  </a:ext>
                </a:extLst>
              </p:cNvPr>
              <p:cNvSpPr/>
              <p:nvPr/>
            </p:nvSpPr>
            <p:spPr>
              <a:xfrm>
                <a:off x="8010131" y="5233496"/>
                <a:ext cx="2303344" cy="344218"/>
              </a:xfrm>
              <a:prstGeom prst="rect">
                <a:avLst/>
              </a:prstGeom>
            </p:spPr>
            <p:txBody>
              <a:bodyPr wrap="square">
                <a:spAutoFit/>
              </a:bodyPr>
              <a:lstStyle/>
              <a:p>
                <a:pPr algn="ctr"/>
                <a:r>
                  <a:rPr lang="it-IT" sz="900" b="1" i="0" dirty="0">
                    <a:effectLst/>
                    <a:latin typeface="Univers Condensed" panose="020B0506020202050204" pitchFamily="34" charset="0"/>
                  </a:rPr>
                  <a:t>PALERMO</a:t>
                </a:r>
              </a:p>
            </p:txBody>
          </p:sp>
          <p:sp>
            <p:nvSpPr>
              <p:cNvPr id="14" name="Ovale 13">
                <a:extLst>
                  <a:ext uri="{FF2B5EF4-FFF2-40B4-BE49-F238E27FC236}">
                    <a16:creationId xmlns:a16="http://schemas.microsoft.com/office/drawing/2014/main" id="{6F4B32D2-F03A-9CD2-DB92-54FB133A7439}"/>
                  </a:ext>
                </a:extLst>
              </p:cNvPr>
              <p:cNvSpPr>
                <a:spLocks noChangeAspect="1"/>
              </p:cNvSpPr>
              <p:nvPr/>
            </p:nvSpPr>
            <p:spPr>
              <a:xfrm>
                <a:off x="9136132" y="3859684"/>
                <a:ext cx="113535" cy="11353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chemeClr val="tx1"/>
                  </a:solidFill>
                  <a:latin typeface="Univers Condensed" panose="020B0506020202050204" pitchFamily="34" charset="0"/>
                </a:endParaRPr>
              </a:p>
            </p:txBody>
          </p:sp>
          <p:sp>
            <p:nvSpPr>
              <p:cNvPr id="15" name="Ovale 14">
                <a:extLst>
                  <a:ext uri="{FF2B5EF4-FFF2-40B4-BE49-F238E27FC236}">
                    <a16:creationId xmlns:a16="http://schemas.microsoft.com/office/drawing/2014/main" id="{7BE7F28B-4DA5-340D-1E63-7C9ACBF1F269}"/>
                  </a:ext>
                </a:extLst>
              </p:cNvPr>
              <p:cNvSpPr>
                <a:spLocks noChangeAspect="1"/>
              </p:cNvSpPr>
              <p:nvPr/>
            </p:nvSpPr>
            <p:spPr>
              <a:xfrm>
                <a:off x="9854682" y="4165145"/>
                <a:ext cx="113535" cy="11353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chemeClr val="tx1"/>
                  </a:solidFill>
                  <a:latin typeface="Univers Condensed" panose="020B0506020202050204" pitchFamily="34" charset="0"/>
                </a:endParaRPr>
              </a:p>
            </p:txBody>
          </p:sp>
          <p:sp>
            <p:nvSpPr>
              <p:cNvPr id="16" name="Ovale 15">
                <a:extLst>
                  <a:ext uri="{FF2B5EF4-FFF2-40B4-BE49-F238E27FC236}">
                    <a16:creationId xmlns:a16="http://schemas.microsoft.com/office/drawing/2014/main" id="{1C489429-2D30-89CD-798F-92521CE93F13}"/>
                  </a:ext>
                </a:extLst>
              </p:cNvPr>
              <p:cNvSpPr>
                <a:spLocks noChangeAspect="1"/>
              </p:cNvSpPr>
              <p:nvPr/>
            </p:nvSpPr>
            <p:spPr>
              <a:xfrm>
                <a:off x="9517672" y="5692083"/>
                <a:ext cx="113535" cy="11353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chemeClr val="tx1"/>
                  </a:solidFill>
                  <a:latin typeface="Univers Condensed" panose="020B0506020202050204" pitchFamily="34" charset="0"/>
                </a:endParaRPr>
              </a:p>
            </p:txBody>
          </p:sp>
          <p:sp>
            <p:nvSpPr>
              <p:cNvPr id="17" name="Ovale 16">
                <a:extLst>
                  <a:ext uri="{FF2B5EF4-FFF2-40B4-BE49-F238E27FC236}">
                    <a16:creationId xmlns:a16="http://schemas.microsoft.com/office/drawing/2014/main" id="{55EB22DE-917F-70FB-95F9-2F064C985B97}"/>
                  </a:ext>
                </a:extLst>
              </p:cNvPr>
              <p:cNvSpPr>
                <a:spLocks noChangeAspect="1"/>
              </p:cNvSpPr>
              <p:nvPr/>
            </p:nvSpPr>
            <p:spPr>
              <a:xfrm>
                <a:off x="7605170" y="1978986"/>
                <a:ext cx="113535" cy="11353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chemeClr val="tx1"/>
                  </a:solidFill>
                  <a:latin typeface="Univers Condensed" panose="020B0506020202050204" pitchFamily="34" charset="0"/>
                </a:endParaRPr>
              </a:p>
            </p:txBody>
          </p:sp>
          <p:sp>
            <p:nvSpPr>
              <p:cNvPr id="18" name="Rettangolo 17">
                <a:extLst>
                  <a:ext uri="{FF2B5EF4-FFF2-40B4-BE49-F238E27FC236}">
                    <a16:creationId xmlns:a16="http://schemas.microsoft.com/office/drawing/2014/main" id="{0B1F3C70-FB8E-D4A6-3F84-31321D97B393}"/>
                  </a:ext>
                </a:extLst>
              </p:cNvPr>
              <p:cNvSpPr/>
              <p:nvPr/>
            </p:nvSpPr>
            <p:spPr>
              <a:xfrm>
                <a:off x="7540232" y="3892334"/>
                <a:ext cx="2303344" cy="458959"/>
              </a:xfrm>
              <a:prstGeom prst="rect">
                <a:avLst/>
              </a:prstGeom>
            </p:spPr>
            <p:txBody>
              <a:bodyPr wrap="square">
                <a:spAutoFit/>
              </a:bodyPr>
              <a:lstStyle/>
              <a:p>
                <a:pPr algn="ctr"/>
                <a:r>
                  <a:rPr lang="it-IT" sz="1400" b="1" i="0" dirty="0">
                    <a:effectLst/>
                    <a:latin typeface="Univers Condensed" panose="020B0506020202050204" pitchFamily="34" charset="0"/>
                  </a:rPr>
                  <a:t>ROMA</a:t>
                </a:r>
              </a:p>
            </p:txBody>
          </p:sp>
          <p:sp>
            <p:nvSpPr>
              <p:cNvPr id="19" name="Ovale 18">
                <a:extLst>
                  <a:ext uri="{FF2B5EF4-FFF2-40B4-BE49-F238E27FC236}">
                    <a16:creationId xmlns:a16="http://schemas.microsoft.com/office/drawing/2014/main" id="{8DD5EA26-EB4F-085B-B81C-B36BF68918AC}"/>
                  </a:ext>
                </a:extLst>
              </p:cNvPr>
              <p:cNvSpPr>
                <a:spLocks noChangeAspect="1"/>
              </p:cNvSpPr>
              <p:nvPr/>
            </p:nvSpPr>
            <p:spPr>
              <a:xfrm>
                <a:off x="8601926" y="2491893"/>
                <a:ext cx="113535" cy="11353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chemeClr val="tx1"/>
                  </a:solidFill>
                  <a:latin typeface="Univers Condensed" panose="020B0506020202050204" pitchFamily="34" charset="0"/>
                </a:endParaRPr>
              </a:p>
            </p:txBody>
          </p:sp>
        </p:grpSp>
        <p:sp>
          <p:nvSpPr>
            <p:cNvPr id="49" name="Ovale 48">
              <a:extLst>
                <a:ext uri="{FF2B5EF4-FFF2-40B4-BE49-F238E27FC236}">
                  <a16:creationId xmlns:a16="http://schemas.microsoft.com/office/drawing/2014/main" id="{26E71A2F-7F87-7A6E-8FE0-A796AE5E285C}"/>
                </a:ext>
              </a:extLst>
            </p:cNvPr>
            <p:cNvSpPr>
              <a:spLocks noChangeAspect="1"/>
            </p:cNvSpPr>
            <p:nvPr/>
          </p:nvSpPr>
          <p:spPr>
            <a:xfrm>
              <a:off x="2604307" y="1555160"/>
              <a:ext cx="76136" cy="7613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chemeClr val="tx1"/>
                </a:solidFill>
                <a:latin typeface="Univers Condensed" panose="020B0506020202050204" pitchFamily="34" charset="0"/>
              </a:endParaRPr>
            </a:p>
          </p:txBody>
        </p:sp>
        <p:sp>
          <p:nvSpPr>
            <p:cNvPr id="50" name="Rettangolo 49">
              <a:extLst>
                <a:ext uri="{FF2B5EF4-FFF2-40B4-BE49-F238E27FC236}">
                  <a16:creationId xmlns:a16="http://schemas.microsoft.com/office/drawing/2014/main" id="{66E2FE54-53FB-92B8-4958-BDBD7124E5F7}"/>
                </a:ext>
              </a:extLst>
            </p:cNvPr>
            <p:cNvSpPr/>
            <p:nvPr/>
          </p:nvSpPr>
          <p:spPr>
            <a:xfrm>
              <a:off x="2250881" y="1510929"/>
              <a:ext cx="1544619" cy="230832"/>
            </a:xfrm>
            <a:prstGeom prst="rect">
              <a:avLst/>
            </a:prstGeom>
          </p:spPr>
          <p:txBody>
            <a:bodyPr wrap="square">
              <a:spAutoFit/>
            </a:bodyPr>
            <a:lstStyle/>
            <a:p>
              <a:pPr algn="ctr"/>
              <a:r>
                <a:rPr lang="it-IT" sz="900" b="1" i="0" dirty="0">
                  <a:effectLst/>
                  <a:latin typeface="Univers Condensed" panose="020B0506020202050204" pitchFamily="34" charset="0"/>
                </a:rPr>
                <a:t>MESTRE</a:t>
              </a:r>
            </a:p>
          </p:txBody>
        </p:sp>
      </p:grpSp>
      <p:sp>
        <p:nvSpPr>
          <p:cNvPr id="54" name="CasellaDiTesto 53">
            <a:extLst>
              <a:ext uri="{FF2B5EF4-FFF2-40B4-BE49-F238E27FC236}">
                <a16:creationId xmlns:a16="http://schemas.microsoft.com/office/drawing/2014/main" id="{9450F3A9-70F1-BC4F-42D8-923C9ED028C3}"/>
              </a:ext>
            </a:extLst>
          </p:cNvPr>
          <p:cNvSpPr txBox="1"/>
          <p:nvPr/>
        </p:nvSpPr>
        <p:spPr>
          <a:xfrm>
            <a:off x="7506260" y="716184"/>
            <a:ext cx="3131000" cy="895339"/>
          </a:xfrm>
          <a:prstGeom prst="rect">
            <a:avLst/>
          </a:prstGeom>
        </p:spPr>
        <p:txBody>
          <a:bodyPr vert="horz" lIns="0" tIns="0" rIns="0" bIns="0" rtlCol="0" anchor="t" anchorCtr="0">
            <a:noAutofit/>
          </a:bodyPr>
          <a:lstStyle>
            <a:defPPr>
              <a:defRPr lang="it-IT"/>
            </a:defPPr>
            <a:lvl1pPr indent="0" defTabSz="914377">
              <a:lnSpc>
                <a:spcPct val="90000"/>
              </a:lnSpc>
              <a:spcBef>
                <a:spcPts val="1000"/>
              </a:spcBef>
              <a:buFont typeface="Arial" panose="020B0604020202020204" pitchFamily="34" charse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defTabSz="914377">
              <a:lnSpc>
                <a:spcPct val="90000"/>
              </a:lnSpc>
              <a:spcBef>
                <a:spcPts val="500"/>
              </a:spcBef>
              <a:buFont typeface="Arial" panose="020B0604020202020204" pitchFamily="34" charset="0"/>
              <a:buNone/>
              <a:defRPr sz="2000" b="0" i="0">
                <a:solidFill>
                  <a:schemeClr val="tx1">
                    <a:tint val="75000"/>
                  </a:schemeClr>
                </a:solidFill>
                <a:latin typeface="Arial" panose="020B0604020202020204" pitchFamily="34" charset="0"/>
                <a:cs typeface="Arial" panose="020B0604020202020204" pitchFamily="34" charset="0"/>
              </a:defRPr>
            </a:lvl2pPr>
            <a:lvl3pPr marL="914377" indent="0" defTabSz="914377">
              <a:lnSpc>
                <a:spcPct val="90000"/>
              </a:lnSpc>
              <a:spcBef>
                <a:spcPts val="500"/>
              </a:spcBef>
              <a:buFont typeface="Arial" panose="020B0604020202020204" pitchFamily="34" charset="0"/>
              <a:buNone/>
              <a:defRPr b="0" i="0">
                <a:solidFill>
                  <a:schemeClr val="tx1">
                    <a:tint val="75000"/>
                  </a:schemeClr>
                </a:solidFill>
                <a:latin typeface="Arial" panose="020B0604020202020204" pitchFamily="34" charset="0"/>
                <a:cs typeface="Arial" panose="020B0604020202020204" pitchFamily="34" charset="0"/>
              </a:defRPr>
            </a:lvl3pPr>
            <a:lvl4pPr marL="1371566" indent="0" defTabSz="914377">
              <a:lnSpc>
                <a:spcPct val="90000"/>
              </a:lnSpc>
              <a:spcBef>
                <a:spcPts val="500"/>
              </a:spcBef>
              <a:buFont typeface="Arial" panose="020B0604020202020204" pitchFamily="34" charset="0"/>
              <a:buNone/>
              <a:defRPr sz="1600" b="0" i="0">
                <a:solidFill>
                  <a:schemeClr val="tx1">
                    <a:tint val="75000"/>
                  </a:schemeClr>
                </a:solidFill>
                <a:latin typeface="Arial" panose="020B0604020202020204" pitchFamily="34" charset="0"/>
                <a:cs typeface="Arial" panose="020B0604020202020204" pitchFamily="34" charset="0"/>
              </a:defRPr>
            </a:lvl4pPr>
            <a:lvl5pPr marL="1828754" indent="0" defTabSz="914377">
              <a:lnSpc>
                <a:spcPct val="90000"/>
              </a:lnSpc>
              <a:spcBef>
                <a:spcPts val="500"/>
              </a:spcBef>
              <a:buFont typeface="Arial" panose="020B0604020202020204" pitchFamily="34" charset="0"/>
              <a:buNone/>
              <a:defRPr sz="1600" b="0" i="0">
                <a:solidFill>
                  <a:schemeClr val="tx1">
                    <a:tint val="75000"/>
                  </a:schemeClr>
                </a:solidFill>
                <a:latin typeface="Arial" panose="020B0604020202020204" pitchFamily="34" charset="0"/>
                <a:cs typeface="Arial" panose="020B0604020202020204" pitchFamily="34" charset="0"/>
              </a:defRPr>
            </a:lvl5pPr>
            <a:lvl6pPr marL="2285943" indent="0" defTabSz="914377">
              <a:lnSpc>
                <a:spcPct val="90000"/>
              </a:lnSpc>
              <a:spcBef>
                <a:spcPts val="500"/>
              </a:spcBef>
              <a:buFont typeface="Arial" panose="020B0604020202020204" pitchFamily="34" charset="0"/>
              <a:buNone/>
              <a:defRPr sz="1600">
                <a:solidFill>
                  <a:schemeClr val="tx1">
                    <a:tint val="75000"/>
                  </a:schemeClr>
                </a:solidFill>
              </a:defRPr>
            </a:lvl6pPr>
            <a:lvl7pPr marL="2743131" indent="0" defTabSz="914377">
              <a:lnSpc>
                <a:spcPct val="90000"/>
              </a:lnSpc>
              <a:spcBef>
                <a:spcPts val="500"/>
              </a:spcBef>
              <a:buFont typeface="Arial" panose="020B0604020202020204" pitchFamily="34" charset="0"/>
              <a:buNone/>
              <a:defRPr sz="1600">
                <a:solidFill>
                  <a:schemeClr val="tx1">
                    <a:tint val="75000"/>
                  </a:schemeClr>
                </a:solidFill>
              </a:defRPr>
            </a:lvl7pPr>
            <a:lvl8pPr marL="3200320" indent="0" defTabSz="914377">
              <a:lnSpc>
                <a:spcPct val="90000"/>
              </a:lnSpc>
              <a:spcBef>
                <a:spcPts val="500"/>
              </a:spcBef>
              <a:buFont typeface="Arial" panose="020B0604020202020204" pitchFamily="34" charset="0"/>
              <a:buNone/>
              <a:defRPr sz="1600">
                <a:solidFill>
                  <a:schemeClr val="tx1">
                    <a:tint val="75000"/>
                  </a:schemeClr>
                </a:solidFill>
              </a:defRPr>
            </a:lvl8pPr>
            <a:lvl9pPr marL="3657509" indent="0" defTabSz="914377">
              <a:lnSpc>
                <a:spcPct val="90000"/>
              </a:lnSpc>
              <a:spcBef>
                <a:spcPts val="500"/>
              </a:spcBef>
              <a:buFont typeface="Arial" panose="020B0604020202020204" pitchFamily="34" charset="0"/>
              <a:buNone/>
              <a:defRPr sz="1600">
                <a:solidFill>
                  <a:schemeClr val="tx1">
                    <a:tint val="75000"/>
                  </a:schemeClr>
                </a:solidFill>
              </a:defRPr>
            </a:lvl9pPr>
          </a:lstStyle>
          <a:p>
            <a:pPr algn="ctr"/>
            <a:r>
              <a:rPr lang="it-IT" sz="2800" dirty="0">
                <a:latin typeface="Univers Condensed" panose="020B0506020202050204" pitchFamily="34" charset="0"/>
              </a:rPr>
              <a:t>Un Customer Care a tua disposizione</a:t>
            </a:r>
          </a:p>
        </p:txBody>
      </p:sp>
      <p:grpSp>
        <p:nvGrpSpPr>
          <p:cNvPr id="55" name="Gruppo 54">
            <a:extLst>
              <a:ext uri="{FF2B5EF4-FFF2-40B4-BE49-F238E27FC236}">
                <a16:creationId xmlns:a16="http://schemas.microsoft.com/office/drawing/2014/main" id="{D4A34960-F66E-41CB-3721-A8F7600A2968}"/>
              </a:ext>
            </a:extLst>
          </p:cNvPr>
          <p:cNvGrpSpPr/>
          <p:nvPr/>
        </p:nvGrpSpPr>
        <p:grpSpPr>
          <a:xfrm>
            <a:off x="7340805" y="2101505"/>
            <a:ext cx="3503828" cy="1924050"/>
            <a:chOff x="224440" y="2502394"/>
            <a:chExt cx="3110643" cy="1968646"/>
          </a:xfrm>
        </p:grpSpPr>
        <p:sp>
          <p:nvSpPr>
            <p:cNvPr id="56" name="Rettangolo 55">
              <a:extLst>
                <a:ext uri="{FF2B5EF4-FFF2-40B4-BE49-F238E27FC236}">
                  <a16:creationId xmlns:a16="http://schemas.microsoft.com/office/drawing/2014/main" id="{12307FA4-9254-0C56-BD85-C7F75D8350BB}"/>
                </a:ext>
              </a:extLst>
            </p:cNvPr>
            <p:cNvSpPr/>
            <p:nvPr/>
          </p:nvSpPr>
          <p:spPr>
            <a:xfrm>
              <a:off x="224440" y="3341762"/>
              <a:ext cx="3110643" cy="598329"/>
            </a:xfrm>
            <a:prstGeom prst="rect">
              <a:avLst/>
            </a:prstGeom>
          </p:spPr>
          <p:txBody>
            <a:bodyPr wrap="square">
              <a:spAutoFit/>
            </a:bodyPr>
            <a:lstStyle/>
            <a:p>
              <a:pPr algn="ctr" defTabSz="914377"/>
              <a:r>
                <a:rPr lang="it-IT" sz="3200" b="1" dirty="0">
                  <a:solidFill>
                    <a:srgbClr val="00B050"/>
                  </a:solidFill>
                  <a:latin typeface="Univers Condensed" panose="020B0506020202050204" pitchFamily="34" charset="0"/>
                </a:rPr>
                <a:t>800.020.030</a:t>
              </a:r>
              <a:endParaRPr lang="it-IT" sz="3200" dirty="0">
                <a:solidFill>
                  <a:srgbClr val="00B050"/>
                </a:solidFill>
                <a:latin typeface="Univers Condensed" panose="020B0506020202050204" pitchFamily="34" charset="0"/>
              </a:endParaRPr>
            </a:p>
          </p:txBody>
        </p:sp>
        <p:sp>
          <p:nvSpPr>
            <p:cNvPr id="57" name="Rettangolo 56">
              <a:extLst>
                <a:ext uri="{FF2B5EF4-FFF2-40B4-BE49-F238E27FC236}">
                  <a16:creationId xmlns:a16="http://schemas.microsoft.com/office/drawing/2014/main" id="{F4E5134F-0903-1D21-84E7-FEC8DB280E10}"/>
                </a:ext>
              </a:extLst>
            </p:cNvPr>
            <p:cNvSpPr/>
            <p:nvPr/>
          </p:nvSpPr>
          <p:spPr>
            <a:xfrm>
              <a:off x="624756" y="3872711"/>
              <a:ext cx="2310010" cy="598329"/>
            </a:xfrm>
            <a:prstGeom prst="rect">
              <a:avLst/>
            </a:prstGeom>
          </p:spPr>
          <p:txBody>
            <a:bodyPr wrap="none">
              <a:spAutoFit/>
            </a:bodyPr>
            <a:lstStyle/>
            <a:p>
              <a:pPr algn="ctr" defTabSz="914377"/>
              <a:r>
                <a:rPr lang="it-IT" sz="3200" b="1" dirty="0">
                  <a:solidFill>
                    <a:srgbClr val="2C3A45"/>
                  </a:solidFill>
                  <a:latin typeface="Univers Condensed" panose="020B0506020202050204" pitchFamily="34" charset="0"/>
                  <a:hlinkClick r:id="rId3"/>
                </a:rPr>
                <a:t>info@simest.it</a:t>
              </a:r>
              <a:endParaRPr lang="it-IT" sz="3200" dirty="0">
                <a:solidFill>
                  <a:srgbClr val="415364"/>
                </a:solidFill>
                <a:latin typeface="Univers Condensed" panose="020B0506020202050204" pitchFamily="34" charset="0"/>
              </a:endParaRPr>
            </a:p>
          </p:txBody>
        </p:sp>
        <p:sp>
          <p:nvSpPr>
            <p:cNvPr id="59" name="Rettangolo 58">
              <a:extLst>
                <a:ext uri="{FF2B5EF4-FFF2-40B4-BE49-F238E27FC236}">
                  <a16:creationId xmlns:a16="http://schemas.microsoft.com/office/drawing/2014/main" id="{851C0B2E-B0D7-6CF5-ED5A-2BF457A9C074}"/>
                </a:ext>
              </a:extLst>
            </p:cNvPr>
            <p:cNvSpPr/>
            <p:nvPr/>
          </p:nvSpPr>
          <p:spPr>
            <a:xfrm>
              <a:off x="1233484" y="2530621"/>
              <a:ext cx="1076325" cy="725927"/>
            </a:xfrm>
            <a:prstGeom prst="rect">
              <a:avLst/>
            </a:prstGeom>
            <a:solidFill>
              <a:srgbClr val="EDEDED">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dirty="0">
                <a:latin typeface="Univers Condensed" panose="020B0506020202050204" pitchFamily="34" charset="0"/>
              </a:endParaRPr>
            </a:p>
          </p:txBody>
        </p:sp>
        <p:pic>
          <p:nvPicPr>
            <p:cNvPr id="60" name="Immagine 59">
              <a:extLst>
                <a:ext uri="{FF2B5EF4-FFF2-40B4-BE49-F238E27FC236}">
                  <a16:creationId xmlns:a16="http://schemas.microsoft.com/office/drawing/2014/main" id="{12BCC2CF-4D70-7044-44E5-CAE7D2C20DF2}"/>
                </a:ext>
              </a:extLst>
            </p:cNvPr>
            <p:cNvPicPr>
              <a:picLocks noChangeAspect="1"/>
            </p:cNvPicPr>
            <p:nvPr/>
          </p:nvPicPr>
          <p:blipFill>
            <a:blip r:embed="rId4"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282054" y="2502394"/>
              <a:ext cx="820653" cy="820653"/>
            </a:xfrm>
            <a:prstGeom prst="rect">
              <a:avLst/>
            </a:prstGeom>
          </p:spPr>
        </p:pic>
      </p:grpSp>
      <p:sp>
        <p:nvSpPr>
          <p:cNvPr id="61" name="CasellaDiTesto 60">
            <a:extLst>
              <a:ext uri="{FF2B5EF4-FFF2-40B4-BE49-F238E27FC236}">
                <a16:creationId xmlns:a16="http://schemas.microsoft.com/office/drawing/2014/main" id="{0CA9D907-F7BE-ED20-3513-D535C9721517}"/>
              </a:ext>
            </a:extLst>
          </p:cNvPr>
          <p:cNvSpPr txBox="1"/>
          <p:nvPr/>
        </p:nvSpPr>
        <p:spPr>
          <a:xfrm>
            <a:off x="7548524" y="4610476"/>
            <a:ext cx="3131000" cy="895339"/>
          </a:xfrm>
          <a:prstGeom prst="rect">
            <a:avLst/>
          </a:prstGeom>
        </p:spPr>
        <p:txBody>
          <a:bodyPr vert="horz" lIns="0" tIns="0" rIns="0" bIns="0" rtlCol="0" anchor="t" anchorCtr="0">
            <a:noAutofit/>
          </a:bodyPr>
          <a:lstStyle>
            <a:defPPr>
              <a:defRPr lang="it-IT"/>
            </a:defPPr>
            <a:lvl1pPr indent="0" defTabSz="914377">
              <a:lnSpc>
                <a:spcPct val="90000"/>
              </a:lnSpc>
              <a:spcBef>
                <a:spcPts val="1000"/>
              </a:spcBef>
              <a:buFont typeface="Arial" panose="020B0604020202020204" pitchFamily="34" charse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defTabSz="914377">
              <a:lnSpc>
                <a:spcPct val="90000"/>
              </a:lnSpc>
              <a:spcBef>
                <a:spcPts val="500"/>
              </a:spcBef>
              <a:buFont typeface="Arial" panose="020B0604020202020204" pitchFamily="34" charset="0"/>
              <a:buNone/>
              <a:defRPr sz="2000" b="0" i="0">
                <a:solidFill>
                  <a:schemeClr val="tx1">
                    <a:tint val="75000"/>
                  </a:schemeClr>
                </a:solidFill>
                <a:latin typeface="Arial" panose="020B0604020202020204" pitchFamily="34" charset="0"/>
                <a:cs typeface="Arial" panose="020B0604020202020204" pitchFamily="34" charset="0"/>
              </a:defRPr>
            </a:lvl2pPr>
            <a:lvl3pPr marL="914377" indent="0" defTabSz="914377">
              <a:lnSpc>
                <a:spcPct val="90000"/>
              </a:lnSpc>
              <a:spcBef>
                <a:spcPts val="500"/>
              </a:spcBef>
              <a:buFont typeface="Arial" panose="020B0604020202020204" pitchFamily="34" charset="0"/>
              <a:buNone/>
              <a:defRPr b="0" i="0">
                <a:solidFill>
                  <a:schemeClr val="tx1">
                    <a:tint val="75000"/>
                  </a:schemeClr>
                </a:solidFill>
                <a:latin typeface="Arial" panose="020B0604020202020204" pitchFamily="34" charset="0"/>
                <a:cs typeface="Arial" panose="020B0604020202020204" pitchFamily="34" charset="0"/>
              </a:defRPr>
            </a:lvl3pPr>
            <a:lvl4pPr marL="1371566" indent="0" defTabSz="914377">
              <a:lnSpc>
                <a:spcPct val="90000"/>
              </a:lnSpc>
              <a:spcBef>
                <a:spcPts val="500"/>
              </a:spcBef>
              <a:buFont typeface="Arial" panose="020B0604020202020204" pitchFamily="34" charset="0"/>
              <a:buNone/>
              <a:defRPr sz="1600" b="0" i="0">
                <a:solidFill>
                  <a:schemeClr val="tx1">
                    <a:tint val="75000"/>
                  </a:schemeClr>
                </a:solidFill>
                <a:latin typeface="Arial" panose="020B0604020202020204" pitchFamily="34" charset="0"/>
                <a:cs typeface="Arial" panose="020B0604020202020204" pitchFamily="34" charset="0"/>
              </a:defRPr>
            </a:lvl4pPr>
            <a:lvl5pPr marL="1828754" indent="0" defTabSz="914377">
              <a:lnSpc>
                <a:spcPct val="90000"/>
              </a:lnSpc>
              <a:spcBef>
                <a:spcPts val="500"/>
              </a:spcBef>
              <a:buFont typeface="Arial" panose="020B0604020202020204" pitchFamily="34" charset="0"/>
              <a:buNone/>
              <a:defRPr sz="1600" b="0" i="0">
                <a:solidFill>
                  <a:schemeClr val="tx1">
                    <a:tint val="75000"/>
                  </a:schemeClr>
                </a:solidFill>
                <a:latin typeface="Arial" panose="020B0604020202020204" pitchFamily="34" charset="0"/>
                <a:cs typeface="Arial" panose="020B0604020202020204" pitchFamily="34" charset="0"/>
              </a:defRPr>
            </a:lvl5pPr>
            <a:lvl6pPr marL="2285943" indent="0" defTabSz="914377">
              <a:lnSpc>
                <a:spcPct val="90000"/>
              </a:lnSpc>
              <a:spcBef>
                <a:spcPts val="500"/>
              </a:spcBef>
              <a:buFont typeface="Arial" panose="020B0604020202020204" pitchFamily="34" charset="0"/>
              <a:buNone/>
              <a:defRPr sz="1600">
                <a:solidFill>
                  <a:schemeClr val="tx1">
                    <a:tint val="75000"/>
                  </a:schemeClr>
                </a:solidFill>
              </a:defRPr>
            </a:lvl6pPr>
            <a:lvl7pPr marL="2743131" indent="0" defTabSz="914377">
              <a:lnSpc>
                <a:spcPct val="90000"/>
              </a:lnSpc>
              <a:spcBef>
                <a:spcPts val="500"/>
              </a:spcBef>
              <a:buFont typeface="Arial" panose="020B0604020202020204" pitchFamily="34" charset="0"/>
              <a:buNone/>
              <a:defRPr sz="1600">
                <a:solidFill>
                  <a:schemeClr val="tx1">
                    <a:tint val="75000"/>
                  </a:schemeClr>
                </a:solidFill>
              </a:defRPr>
            </a:lvl7pPr>
            <a:lvl8pPr marL="3200320" indent="0" defTabSz="914377">
              <a:lnSpc>
                <a:spcPct val="90000"/>
              </a:lnSpc>
              <a:spcBef>
                <a:spcPts val="500"/>
              </a:spcBef>
              <a:buFont typeface="Arial" panose="020B0604020202020204" pitchFamily="34" charset="0"/>
              <a:buNone/>
              <a:defRPr sz="1600">
                <a:solidFill>
                  <a:schemeClr val="tx1">
                    <a:tint val="75000"/>
                  </a:schemeClr>
                </a:solidFill>
              </a:defRPr>
            </a:lvl8pPr>
            <a:lvl9pPr marL="3657509" indent="0" defTabSz="914377">
              <a:lnSpc>
                <a:spcPct val="90000"/>
              </a:lnSpc>
              <a:spcBef>
                <a:spcPts val="500"/>
              </a:spcBef>
              <a:buFont typeface="Arial" panose="020B0604020202020204" pitchFamily="34" charset="0"/>
              <a:buNone/>
              <a:defRPr sz="1600">
                <a:solidFill>
                  <a:schemeClr val="tx1">
                    <a:tint val="75000"/>
                  </a:schemeClr>
                </a:solidFill>
              </a:defRPr>
            </a:lvl9pPr>
          </a:lstStyle>
          <a:p>
            <a:pPr algn="ctr">
              <a:spcBef>
                <a:spcPts val="0"/>
              </a:spcBef>
            </a:pPr>
            <a:r>
              <a:rPr lang="it-IT" sz="2800" dirty="0">
                <a:solidFill>
                  <a:schemeClr val="accent1"/>
                </a:solidFill>
                <a:latin typeface="Univers Condensed" panose="020B0506020202050204" pitchFamily="34" charset="0"/>
              </a:rPr>
              <a:t>Resta aggiornato su</a:t>
            </a:r>
            <a:endParaRPr lang="it-IT" sz="2800" dirty="0">
              <a:solidFill>
                <a:schemeClr val="accent1"/>
              </a:solidFill>
              <a:latin typeface="Univers Condensed" panose="020B0506020202050204" pitchFamily="34" charset="0"/>
              <a:hlinkClick r:id="rId5">
                <a:extLst>
                  <a:ext uri="{A12FA001-AC4F-418D-AE19-62706E023703}">
                    <ahyp:hlinkClr xmlns:ahyp="http://schemas.microsoft.com/office/drawing/2018/hyperlinkcolor" val="tx"/>
                  </a:ext>
                </a:extLst>
              </a:hlinkClick>
            </a:endParaRPr>
          </a:p>
          <a:p>
            <a:pPr algn="ctr">
              <a:spcBef>
                <a:spcPts val="0"/>
              </a:spcBef>
            </a:pPr>
            <a:r>
              <a:rPr lang="it-IT" sz="2800" dirty="0">
                <a:solidFill>
                  <a:srgbClr val="005392"/>
                </a:solidFill>
                <a:latin typeface="Univers Condensed" panose="020B0506020202050204" pitchFamily="34" charset="0"/>
                <a:hlinkClick r:id="rId5">
                  <a:extLst>
                    <a:ext uri="{A12FA001-AC4F-418D-AE19-62706E023703}">
                      <ahyp:hlinkClr xmlns:ahyp="http://schemas.microsoft.com/office/drawing/2018/hyperlinkcolor" val="tx"/>
                    </a:ext>
                  </a:extLst>
                </a:hlinkClick>
              </a:rPr>
              <a:t>www.simest.it</a:t>
            </a:r>
            <a:r>
              <a:rPr lang="it-IT" sz="2800" dirty="0">
                <a:latin typeface="Univers Condensed" panose="020B0506020202050204" pitchFamily="34" charset="0"/>
              </a:rPr>
              <a:t> </a:t>
            </a:r>
          </a:p>
        </p:txBody>
      </p:sp>
      <p:pic>
        <p:nvPicPr>
          <p:cNvPr id="62" name="Immagine 61">
            <a:extLst>
              <a:ext uri="{FF2B5EF4-FFF2-40B4-BE49-F238E27FC236}">
                <a16:creationId xmlns:a16="http://schemas.microsoft.com/office/drawing/2014/main" id="{32537A44-E14C-E369-0CC1-8E62762CCFAB}"/>
              </a:ext>
            </a:extLst>
          </p:cNvPr>
          <p:cNvPicPr>
            <a:picLocks noChangeAspect="1"/>
          </p:cNvPicPr>
          <p:nvPr/>
        </p:nvPicPr>
        <p:blipFill>
          <a:blip r:embed="rId6"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4186434" y="1365531"/>
            <a:ext cx="229433" cy="228124"/>
          </a:xfrm>
          <a:prstGeom prst="rect">
            <a:avLst/>
          </a:prstGeom>
        </p:spPr>
      </p:pic>
      <p:sp>
        <p:nvSpPr>
          <p:cNvPr id="63" name="CasellaDiTesto 62">
            <a:extLst>
              <a:ext uri="{FF2B5EF4-FFF2-40B4-BE49-F238E27FC236}">
                <a16:creationId xmlns:a16="http://schemas.microsoft.com/office/drawing/2014/main" id="{5EA515A3-1560-5EAB-FFF2-A3C69AD1E1D7}"/>
              </a:ext>
            </a:extLst>
          </p:cNvPr>
          <p:cNvSpPr txBox="1"/>
          <p:nvPr/>
        </p:nvSpPr>
        <p:spPr>
          <a:xfrm>
            <a:off x="4488049" y="1781667"/>
            <a:ext cx="1247100" cy="296231"/>
          </a:xfrm>
          <a:prstGeom prst="rect">
            <a:avLst/>
          </a:prstGeom>
        </p:spPr>
        <p:txBody>
          <a:bodyPr vert="horz" wrap="square" lIns="91440" tIns="45720" rIns="91440" bIns="45720" rtlCol="0" anchor="t">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BELGRADO</a:t>
            </a:r>
            <a:endParaRPr kumimoji="0" lang="it-IT" sz="1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64" name="CasellaDiTesto 63">
            <a:extLst>
              <a:ext uri="{FF2B5EF4-FFF2-40B4-BE49-F238E27FC236}">
                <a16:creationId xmlns:a16="http://schemas.microsoft.com/office/drawing/2014/main" id="{ED7A9932-C7A8-ED77-9D36-F9D2C7B78687}"/>
              </a:ext>
            </a:extLst>
          </p:cNvPr>
          <p:cNvSpPr txBox="1"/>
          <p:nvPr/>
        </p:nvSpPr>
        <p:spPr>
          <a:xfrm>
            <a:off x="4493826" y="2077745"/>
            <a:ext cx="1247100" cy="296231"/>
          </a:xfrm>
          <a:prstGeom prst="rect">
            <a:avLst/>
          </a:prstGeom>
        </p:spPr>
        <p:txBody>
          <a:bodyPr vert="horz" wrap="square" lIns="91440" tIns="45720" rIns="91440" bIns="45720" rtlCol="0" anchor="t">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IL CAIRO</a:t>
            </a:r>
            <a:endParaRPr kumimoji="0" lang="it-IT" sz="1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pic>
        <p:nvPicPr>
          <p:cNvPr id="65" name="Picture 2">
            <a:extLst>
              <a:ext uri="{FF2B5EF4-FFF2-40B4-BE49-F238E27FC236}">
                <a16:creationId xmlns:a16="http://schemas.microsoft.com/office/drawing/2014/main" id="{3F3B16EB-3512-AABC-6010-9EBAA4B3EA0C}"/>
              </a:ext>
            </a:extLst>
          </p:cNvPr>
          <p:cNvPicPr preferRelativeResize="0">
            <a:picLocks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4101831" y="1782596"/>
            <a:ext cx="405392" cy="255656"/>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4" descr="Bandiera dell'Egitto - Wikipedia">
            <a:extLst>
              <a:ext uri="{FF2B5EF4-FFF2-40B4-BE49-F238E27FC236}">
                <a16:creationId xmlns:a16="http://schemas.microsoft.com/office/drawing/2014/main" id="{FDC6DCBE-7344-5A85-D5AF-F28E0CADCF06}"/>
              </a:ext>
            </a:extLst>
          </p:cNvPr>
          <p:cNvPicPr preferRelativeResize="0">
            <a:picLocks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4098312" y="2078562"/>
            <a:ext cx="405392" cy="255656"/>
          </a:xfrm>
          <a:prstGeom prst="rect">
            <a:avLst/>
          </a:prstGeom>
          <a:noFill/>
          <a:extLst>
            <a:ext uri="{909E8E84-426E-40DD-AFC4-6F175D3DCCD1}">
              <a14:hiddenFill xmlns:a14="http://schemas.microsoft.com/office/drawing/2010/main">
                <a:solidFill>
                  <a:srgbClr val="FFFFFF"/>
                </a:solidFill>
              </a14:hiddenFill>
            </a:ext>
          </a:extLst>
        </p:spPr>
      </p:pic>
      <p:sp>
        <p:nvSpPr>
          <p:cNvPr id="67" name="CasellaDiTesto 66">
            <a:extLst>
              <a:ext uri="{FF2B5EF4-FFF2-40B4-BE49-F238E27FC236}">
                <a16:creationId xmlns:a16="http://schemas.microsoft.com/office/drawing/2014/main" id="{64F32412-FBF2-C0D1-F4C0-8E57DCDC3CC4}"/>
              </a:ext>
            </a:extLst>
          </p:cNvPr>
          <p:cNvSpPr txBox="1"/>
          <p:nvPr/>
        </p:nvSpPr>
        <p:spPr>
          <a:xfrm>
            <a:off x="4285896" y="1340404"/>
            <a:ext cx="1247100" cy="296231"/>
          </a:xfrm>
          <a:prstGeom prst="rect">
            <a:avLst/>
          </a:prstGeom>
        </p:spPr>
        <p:txBody>
          <a:bodyPr vert="horz" wrap="square" lIns="91440" tIns="45720" rIns="91440" bIns="45720" rtlCol="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Presidi esteri</a:t>
            </a:r>
            <a:endParaRPr kumimoji="0" lang="it-IT" sz="105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pic>
        <p:nvPicPr>
          <p:cNvPr id="68" name="Immagine 67" descr="Immagine che contiene stella, Elementi grafici, simbolo, bandiera&#10;&#10;Descrizione generata automaticamente">
            <a:extLst>
              <a:ext uri="{FF2B5EF4-FFF2-40B4-BE49-F238E27FC236}">
                <a16:creationId xmlns:a16="http://schemas.microsoft.com/office/drawing/2014/main" id="{D599530B-F01B-B99D-0D74-B7CF6DD7D4EA}"/>
              </a:ext>
            </a:extLst>
          </p:cNvPr>
          <p:cNvPicPr preferRelativeResize="0">
            <a:picLocks/>
          </p:cNvPicPr>
          <p:nvPr/>
        </p:nvPicPr>
        <p:blipFill>
          <a:blip r:embed="rId9" cstate="screen">
            <a:extLst>
              <a:ext uri="{28A0092B-C50C-407E-A947-70E740481C1C}">
                <a14:useLocalDpi xmlns:a14="http://schemas.microsoft.com/office/drawing/2010/main" val="0"/>
              </a:ext>
            </a:extLst>
          </a:blip>
          <a:stretch>
            <a:fillRect/>
          </a:stretch>
        </p:blipFill>
        <p:spPr>
          <a:xfrm>
            <a:off x="4097538" y="2380408"/>
            <a:ext cx="405392" cy="255656"/>
          </a:xfrm>
          <a:prstGeom prst="rect">
            <a:avLst/>
          </a:prstGeom>
        </p:spPr>
      </p:pic>
      <p:sp>
        <p:nvSpPr>
          <p:cNvPr id="69" name="CasellaDiTesto 68">
            <a:extLst>
              <a:ext uri="{FF2B5EF4-FFF2-40B4-BE49-F238E27FC236}">
                <a16:creationId xmlns:a16="http://schemas.microsoft.com/office/drawing/2014/main" id="{1E52EB12-F7AE-B032-7AA1-B16F37794908}"/>
              </a:ext>
            </a:extLst>
          </p:cNvPr>
          <p:cNvSpPr txBox="1"/>
          <p:nvPr/>
        </p:nvSpPr>
        <p:spPr>
          <a:xfrm>
            <a:off x="4493711" y="2384787"/>
            <a:ext cx="1247100" cy="296231"/>
          </a:xfrm>
          <a:prstGeom prst="rect">
            <a:avLst/>
          </a:prstGeom>
        </p:spPr>
        <p:txBody>
          <a:bodyPr vert="horz" wrap="square" lIns="91440" tIns="45720" rIns="91440" bIns="45720" rtlCol="0" anchor="t">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HO CHI MINH</a:t>
            </a:r>
            <a:endParaRPr kumimoji="0" lang="it-IT" sz="1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pic>
        <p:nvPicPr>
          <p:cNvPr id="70" name="Immagine 69">
            <a:extLst>
              <a:ext uri="{FF2B5EF4-FFF2-40B4-BE49-F238E27FC236}">
                <a16:creationId xmlns:a16="http://schemas.microsoft.com/office/drawing/2014/main" id="{FE49E025-BF96-6AD9-7C3B-E86AA78E2EDD}"/>
              </a:ext>
            </a:extLst>
          </p:cNvPr>
          <p:cNvPicPr preferRelativeResize="0">
            <a:picLocks/>
          </p:cNvPicPr>
          <p:nvPr/>
        </p:nvPicPr>
        <p:blipFill>
          <a:blip r:embed="rId10"/>
          <a:srcRect l="5277" t="25760" r="5128" b="25613"/>
          <a:stretch/>
        </p:blipFill>
        <p:spPr>
          <a:xfrm>
            <a:off x="4097538" y="2681019"/>
            <a:ext cx="405392" cy="255656"/>
          </a:xfrm>
          <a:prstGeom prst="rect">
            <a:avLst/>
          </a:prstGeom>
        </p:spPr>
      </p:pic>
      <p:sp>
        <p:nvSpPr>
          <p:cNvPr id="71" name="CasellaDiTesto 70">
            <a:extLst>
              <a:ext uri="{FF2B5EF4-FFF2-40B4-BE49-F238E27FC236}">
                <a16:creationId xmlns:a16="http://schemas.microsoft.com/office/drawing/2014/main" id="{D1F7FB3B-5C62-E567-9B01-E3E1DED1B95F}"/>
              </a:ext>
            </a:extLst>
          </p:cNvPr>
          <p:cNvSpPr txBox="1"/>
          <p:nvPr/>
        </p:nvSpPr>
        <p:spPr>
          <a:xfrm>
            <a:off x="4493711" y="2681989"/>
            <a:ext cx="1247100" cy="296231"/>
          </a:xfrm>
          <a:prstGeom prst="rect">
            <a:avLst/>
          </a:prstGeom>
        </p:spPr>
        <p:txBody>
          <a:bodyPr vert="horz" wrap="square" lIns="91440" tIns="45720" rIns="91440" bIns="45720" rtlCol="0" anchor="t">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SAN PAOLO</a:t>
            </a:r>
            <a:endParaRPr kumimoji="0" lang="it-IT" sz="1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pic>
        <p:nvPicPr>
          <p:cNvPr id="72" name="Picture 6" descr="BANDIERA MAROCCO CM 70X100">
            <a:extLst>
              <a:ext uri="{FF2B5EF4-FFF2-40B4-BE49-F238E27FC236}">
                <a16:creationId xmlns:a16="http://schemas.microsoft.com/office/drawing/2014/main" id="{D965D3B2-079D-90BD-058E-358429227774}"/>
              </a:ext>
            </a:extLst>
          </p:cNvPr>
          <p:cNvPicPr>
            <a:picLocks noChangeAspect="1" noChangeArrowheads="1"/>
          </p:cNvPicPr>
          <p:nvPr/>
        </p:nvPicPr>
        <p:blipFill rotWithShape="1">
          <a:blip r:embed="rId11" cstate="screen">
            <a:extLst>
              <a:ext uri="{28A0092B-C50C-407E-A947-70E740481C1C}">
                <a14:useLocalDpi xmlns:a14="http://schemas.microsoft.com/office/drawing/2010/main" val="0"/>
              </a:ext>
            </a:extLst>
          </a:blip>
          <a:srcRect/>
          <a:stretch/>
        </p:blipFill>
        <p:spPr bwMode="auto">
          <a:xfrm>
            <a:off x="4101830" y="3002256"/>
            <a:ext cx="406800" cy="264292"/>
          </a:xfrm>
          <a:prstGeom prst="rect">
            <a:avLst/>
          </a:prstGeom>
          <a:noFill/>
          <a:extLst>
            <a:ext uri="{909E8E84-426E-40DD-AFC4-6F175D3DCCD1}">
              <a14:hiddenFill xmlns:a14="http://schemas.microsoft.com/office/drawing/2010/main">
                <a:solidFill>
                  <a:srgbClr val="FFFFFF"/>
                </a:solidFill>
              </a14:hiddenFill>
            </a:ext>
          </a:extLst>
        </p:spPr>
      </p:pic>
      <p:sp>
        <p:nvSpPr>
          <p:cNvPr id="73" name="CasellaDiTesto 72">
            <a:extLst>
              <a:ext uri="{FF2B5EF4-FFF2-40B4-BE49-F238E27FC236}">
                <a16:creationId xmlns:a16="http://schemas.microsoft.com/office/drawing/2014/main" id="{D395E971-518B-0949-E0C1-AB33B80D1F38}"/>
              </a:ext>
            </a:extLst>
          </p:cNvPr>
          <p:cNvSpPr txBox="1"/>
          <p:nvPr/>
        </p:nvSpPr>
        <p:spPr>
          <a:xfrm>
            <a:off x="4502930" y="3011725"/>
            <a:ext cx="1247100" cy="254824"/>
          </a:xfrm>
          <a:prstGeom prst="rect">
            <a:avLst/>
          </a:prstGeom>
        </p:spPr>
        <p:txBody>
          <a:bodyPr vert="horz" wrap="square" lIns="91440" tIns="45720" rIns="91440" bIns="45720" rtlCol="0" anchor="t">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RABAT</a:t>
            </a:r>
            <a:endParaRPr kumimoji="0" lang="it-IT" sz="10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pic>
        <p:nvPicPr>
          <p:cNvPr id="74" name="Immagine 73">
            <a:extLst>
              <a:ext uri="{FF2B5EF4-FFF2-40B4-BE49-F238E27FC236}">
                <a16:creationId xmlns:a16="http://schemas.microsoft.com/office/drawing/2014/main" id="{C2D27616-6A7E-CC7C-2506-4A42B636EC39}"/>
              </a:ext>
            </a:extLst>
          </p:cNvPr>
          <p:cNvPicPr>
            <a:picLocks noChangeAspect="1"/>
          </p:cNvPicPr>
          <p:nvPr/>
        </p:nvPicPr>
        <p:blipFill>
          <a:blip r:embed="rId12"/>
          <a:stretch>
            <a:fillRect/>
          </a:stretch>
        </p:blipFill>
        <p:spPr>
          <a:xfrm>
            <a:off x="4112923" y="3332128"/>
            <a:ext cx="390007" cy="277477"/>
          </a:xfrm>
          <a:prstGeom prst="rect">
            <a:avLst/>
          </a:prstGeom>
        </p:spPr>
      </p:pic>
      <p:sp>
        <p:nvSpPr>
          <p:cNvPr id="75" name="CasellaDiTesto 74">
            <a:extLst>
              <a:ext uri="{FF2B5EF4-FFF2-40B4-BE49-F238E27FC236}">
                <a16:creationId xmlns:a16="http://schemas.microsoft.com/office/drawing/2014/main" id="{3FDF235F-D657-8C52-69E7-145F89C844B5}"/>
              </a:ext>
            </a:extLst>
          </p:cNvPr>
          <p:cNvSpPr txBox="1"/>
          <p:nvPr/>
        </p:nvSpPr>
        <p:spPr>
          <a:xfrm>
            <a:off x="4502930" y="3357197"/>
            <a:ext cx="1247100" cy="254824"/>
          </a:xfrm>
          <a:prstGeom prst="rect">
            <a:avLst/>
          </a:prstGeom>
        </p:spPr>
        <p:txBody>
          <a:bodyPr vert="horz" wrap="square" lIns="91440" tIns="45720" rIns="91440" bIns="45720" rtlCol="0" anchor="t">
            <a:normAutofit lnSpcReduction="10000"/>
          </a:bodyPr>
          <a:lstStyle/>
          <a:p>
            <a:pPr>
              <a:defRPr/>
            </a:pPr>
            <a:r>
              <a:rPr lang="it-IT" sz="1100" b="1" dirty="0">
                <a:solidFill>
                  <a:srgbClr val="415364"/>
                </a:solidFill>
                <a:latin typeface="Univers Condensed" panose="020B0506020202050204" pitchFamily="34" charset="0"/>
              </a:rPr>
              <a:t>NEW DELHI</a:t>
            </a:r>
          </a:p>
        </p:txBody>
      </p:sp>
      <p:sp>
        <p:nvSpPr>
          <p:cNvPr id="3" name="CasellaDiTesto 2">
            <a:extLst>
              <a:ext uri="{FF2B5EF4-FFF2-40B4-BE49-F238E27FC236}">
                <a16:creationId xmlns:a16="http://schemas.microsoft.com/office/drawing/2014/main" id="{1AD0B2D1-CCB4-2BCF-334A-98F05F415A56}"/>
              </a:ext>
            </a:extLst>
          </p:cNvPr>
          <p:cNvSpPr txBox="1"/>
          <p:nvPr/>
        </p:nvSpPr>
        <p:spPr>
          <a:xfrm>
            <a:off x="4502930" y="3710895"/>
            <a:ext cx="1247100" cy="254824"/>
          </a:xfrm>
          <a:prstGeom prst="rect">
            <a:avLst/>
          </a:prstGeom>
        </p:spPr>
        <p:txBody>
          <a:bodyPr vert="horz" wrap="square" lIns="91440" tIns="45720" rIns="91440" bIns="45720" rtlCol="0" anchor="t">
            <a:normAutofit lnSpcReduction="10000"/>
          </a:bodyPr>
          <a:lstStyle/>
          <a:p>
            <a:pPr>
              <a:defRPr/>
            </a:pPr>
            <a:r>
              <a:rPr lang="it-IT" sz="1100" b="1" dirty="0">
                <a:solidFill>
                  <a:srgbClr val="415364"/>
                </a:solidFill>
                <a:latin typeface="Univers Condensed" panose="020B0506020202050204" pitchFamily="34" charset="0"/>
              </a:rPr>
              <a:t>RIYAD</a:t>
            </a:r>
          </a:p>
        </p:txBody>
      </p:sp>
      <p:pic>
        <p:nvPicPr>
          <p:cNvPr id="43" name="Immagine 42" descr="Immagine che contiene Carattere, Elementi grafici, testo, logo&#10;&#10;Il contenuto generato dall'IA potrebbe non essere corretto.">
            <a:extLst>
              <a:ext uri="{FF2B5EF4-FFF2-40B4-BE49-F238E27FC236}">
                <a16:creationId xmlns:a16="http://schemas.microsoft.com/office/drawing/2014/main" id="{2C48340A-7508-7C0D-2EB1-63A3B146A0AE}"/>
              </a:ext>
            </a:extLst>
          </p:cNvPr>
          <p:cNvPicPr>
            <a:picLocks noChangeAspect="1"/>
          </p:cNvPicPr>
          <p:nvPr/>
        </p:nvPicPr>
        <p:blipFill>
          <a:blip r:embed="rId13"/>
          <a:stretch>
            <a:fillRect/>
          </a:stretch>
        </p:blipFill>
        <p:spPr>
          <a:xfrm>
            <a:off x="4109303" y="3646041"/>
            <a:ext cx="397920" cy="397920"/>
          </a:xfrm>
          <a:prstGeom prst="rect">
            <a:avLst/>
          </a:prstGeom>
        </p:spPr>
      </p:pic>
      <p:sp>
        <p:nvSpPr>
          <p:cNvPr id="2" name="Ovale 1">
            <a:extLst>
              <a:ext uri="{FF2B5EF4-FFF2-40B4-BE49-F238E27FC236}">
                <a16:creationId xmlns:a16="http://schemas.microsoft.com/office/drawing/2014/main" id="{B5C4D211-9103-303A-ABAD-BC91BAB3B96C}"/>
              </a:ext>
            </a:extLst>
          </p:cNvPr>
          <p:cNvSpPr>
            <a:spLocks noChangeAspect="1"/>
          </p:cNvSpPr>
          <p:nvPr/>
        </p:nvSpPr>
        <p:spPr>
          <a:xfrm>
            <a:off x="3376252" y="3671542"/>
            <a:ext cx="76136" cy="7613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chemeClr val="tx1"/>
              </a:solidFill>
              <a:latin typeface="Univers Condensed" panose="020B0506020202050204" pitchFamily="34" charset="0"/>
            </a:endParaRPr>
          </a:p>
        </p:txBody>
      </p:sp>
      <p:sp>
        <p:nvSpPr>
          <p:cNvPr id="5" name="Rettangolo 4">
            <a:extLst>
              <a:ext uri="{FF2B5EF4-FFF2-40B4-BE49-F238E27FC236}">
                <a16:creationId xmlns:a16="http://schemas.microsoft.com/office/drawing/2014/main" id="{55FA12F2-DCA3-3AB9-32AD-3FF7F7B4F562}"/>
              </a:ext>
            </a:extLst>
          </p:cNvPr>
          <p:cNvSpPr/>
          <p:nvPr/>
        </p:nvSpPr>
        <p:spPr>
          <a:xfrm>
            <a:off x="2816709" y="3477388"/>
            <a:ext cx="1544619" cy="230832"/>
          </a:xfrm>
          <a:prstGeom prst="rect">
            <a:avLst/>
          </a:prstGeom>
        </p:spPr>
        <p:txBody>
          <a:bodyPr wrap="square">
            <a:spAutoFit/>
          </a:bodyPr>
          <a:lstStyle/>
          <a:p>
            <a:pPr algn="ctr"/>
            <a:r>
              <a:rPr lang="it-IT" sz="900" b="1" dirty="0">
                <a:latin typeface="Univers Condensed" panose="020B0506020202050204" pitchFamily="34" charset="0"/>
              </a:rPr>
              <a:t>BARI</a:t>
            </a:r>
          </a:p>
        </p:txBody>
      </p:sp>
    </p:spTree>
    <p:extLst>
      <p:ext uri="{BB962C8B-B14F-4D97-AF65-F5344CB8AC3E}">
        <p14:creationId xmlns:p14="http://schemas.microsoft.com/office/powerpoint/2010/main" val="18716175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magine 14" descr="Mano che indica il mappamondo">
            <a:extLst>
              <a:ext uri="{FF2B5EF4-FFF2-40B4-BE49-F238E27FC236}">
                <a16:creationId xmlns:a16="http://schemas.microsoft.com/office/drawing/2014/main" id="{5A8F26BA-AF1A-8BA3-E995-6B47688C27A0}"/>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t="-337"/>
          <a:stretch/>
        </p:blipFill>
        <p:spPr>
          <a:xfrm>
            <a:off x="7553410" y="1210018"/>
            <a:ext cx="4494835" cy="4991837"/>
          </a:xfrm>
          <a:prstGeom prst="rect">
            <a:avLst/>
          </a:prstGeom>
        </p:spPr>
      </p:pic>
      <p:graphicFrame>
        <p:nvGraphicFramePr>
          <p:cNvPr id="6" name="Oggetto 5" hidden="1">
            <a:extLst>
              <a:ext uri="{FF2B5EF4-FFF2-40B4-BE49-F238E27FC236}">
                <a16:creationId xmlns:a16="http://schemas.microsoft.com/office/drawing/2014/main" id="{7BAB9D9C-8F32-1840-51A6-91A711F16507}"/>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Diapositiva think-cell" r:id="rId5" imgW="415" imgH="416" progId="TCLayout.ActiveDocument.1">
                  <p:embed/>
                </p:oleObj>
              </mc:Choice>
              <mc:Fallback>
                <p:oleObj name="Diapositiva think-cell" r:id="rId5" imgW="415" imgH="416" progId="TCLayout.ActiveDocument.1">
                  <p:embed/>
                  <p:pic>
                    <p:nvPicPr>
                      <p:cNvPr id="6" name="Oggetto 5" hidden="1">
                        <a:extLst>
                          <a:ext uri="{FF2B5EF4-FFF2-40B4-BE49-F238E27FC236}">
                            <a16:creationId xmlns:a16="http://schemas.microsoft.com/office/drawing/2014/main" id="{7BAB9D9C-8F32-1840-51A6-91A711F16507}"/>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84" name="Segnaposto testo 1">
            <a:extLst>
              <a:ext uri="{FF2B5EF4-FFF2-40B4-BE49-F238E27FC236}">
                <a16:creationId xmlns:a16="http://schemas.microsoft.com/office/drawing/2014/main" id="{C71AF51B-9A05-A5F3-D69C-D6CFBDCAC011}"/>
              </a:ext>
            </a:extLst>
          </p:cNvPr>
          <p:cNvSpPr>
            <a:spLocks noGrp="1"/>
          </p:cNvSpPr>
          <p:nvPr>
            <p:ph type="body" idx="13"/>
          </p:nvPr>
        </p:nvSpPr>
        <p:spPr>
          <a:xfrm>
            <a:off x="165549" y="281185"/>
            <a:ext cx="11940986" cy="770613"/>
          </a:xfrm>
          <a:prstGeom prst="rect">
            <a:avLst/>
          </a:prstGeom>
        </p:spPr>
        <p:txBody>
          <a:bodyPr/>
          <a:lstStyle/>
          <a:p>
            <a:pPr algn="ctr">
              <a:lnSpc>
                <a:spcPct val="100000"/>
              </a:lnSpc>
            </a:pPr>
            <a:r>
              <a:rPr lang="it-IT" sz="2800" dirty="0">
                <a:solidFill>
                  <a:schemeClr val="accent2"/>
                </a:solidFill>
              </a:rPr>
              <a:t>SIMEST</a:t>
            </a:r>
            <a:r>
              <a:rPr lang="it-IT" sz="2800" dirty="0">
                <a:solidFill>
                  <a:schemeClr val="accent1"/>
                </a:solidFill>
              </a:rPr>
              <a:t>, società del Gruppo CDP e gestore di fondi pubblici, è </a:t>
            </a:r>
            <a:r>
              <a:rPr lang="it-IT" sz="2800" dirty="0">
                <a:solidFill>
                  <a:schemeClr val="accent2"/>
                </a:solidFill>
              </a:rPr>
              <a:t>da oltre 30 anni </a:t>
            </a:r>
            <a:r>
              <a:rPr lang="it-IT" sz="2800" dirty="0">
                <a:solidFill>
                  <a:schemeClr val="accent1"/>
                </a:solidFill>
              </a:rPr>
              <a:t>Partner istituzionale delle </a:t>
            </a:r>
            <a:r>
              <a:rPr lang="it-IT" sz="2800" dirty="0">
                <a:solidFill>
                  <a:schemeClr val="accent2"/>
                </a:solidFill>
              </a:rPr>
              <a:t>imprese italiane nei mercati esteri</a:t>
            </a:r>
          </a:p>
        </p:txBody>
      </p:sp>
      <p:sp>
        <p:nvSpPr>
          <p:cNvPr id="100" name="TextBox 24">
            <a:extLst>
              <a:ext uri="{FF2B5EF4-FFF2-40B4-BE49-F238E27FC236}">
                <a16:creationId xmlns:a16="http://schemas.microsoft.com/office/drawing/2014/main" id="{F37AECDC-4B18-9C81-C803-AFBFD7B95345}"/>
              </a:ext>
            </a:extLst>
          </p:cNvPr>
          <p:cNvSpPr txBox="1"/>
          <p:nvPr/>
        </p:nvSpPr>
        <p:spPr>
          <a:xfrm>
            <a:off x="413792" y="5437445"/>
            <a:ext cx="7100151" cy="590931"/>
          </a:xfrm>
          <a:prstGeom prst="rect">
            <a:avLst/>
          </a:prstGeom>
          <a:noFill/>
          <a:ln w="12700" cap="sq">
            <a:noFill/>
            <a:miter lim="800000"/>
          </a:ln>
        </p:spPr>
        <p:txBody>
          <a:bodyPr wrap="square" lIns="0" tIns="36576" rIns="0" bIns="0" rtlCol="0">
            <a:spAutoFit/>
          </a:bodyPr>
          <a:lstStyle/>
          <a:p>
            <a:pPr marL="0" marR="0" lvl="1" indent="0" algn="ctr" defTabSz="914400" rtl="0" eaLnBrk="1" fontAlgn="base"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Segoe UI" panose="020B0502040204020203" pitchFamily="34" charset="0"/>
              </a:rPr>
              <a:t>Accompagnamento strategico con sedi all’estero </a:t>
            </a:r>
            <a:r>
              <a:rPr kumimoji="0" lang="it-IT" sz="16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Segoe UI" panose="020B0502040204020203" pitchFamily="34" charset="0"/>
              </a:rPr>
              <a:t>per l’ingresso e il consolidamento sui </a:t>
            </a:r>
            <a:r>
              <a:rPr kumimoji="0" lang="it-IT" sz="16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mercati prioritari</a:t>
            </a:r>
            <a:r>
              <a:rPr kumimoji="0" lang="it-IT" sz="1600" b="1" i="0" u="none" strike="noStrike" kern="1200" cap="none" spc="0" normalizeH="0" baseline="0" noProof="0" dirty="0">
                <a:ln>
                  <a:noFill/>
                </a:ln>
                <a:solidFill>
                  <a:srgbClr val="5F85B1"/>
                </a:solidFill>
                <a:effectLst/>
                <a:uLnTx/>
                <a:uFillTx/>
                <a:latin typeface="Univers Condensed" panose="020B0506020202050204" pitchFamily="34" charset="0"/>
                <a:ea typeface="+mn-ea"/>
                <a:cs typeface="+mn-cs"/>
              </a:rPr>
              <a:t> </a:t>
            </a:r>
            <a:r>
              <a:rPr kumimoji="0" lang="it-IT" sz="16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Segoe UI" panose="020B0502040204020203" pitchFamily="34" charset="0"/>
              </a:rPr>
              <a:t>per il Made in Italy</a:t>
            </a:r>
          </a:p>
        </p:txBody>
      </p:sp>
      <p:sp>
        <p:nvSpPr>
          <p:cNvPr id="101" name="TextBox 27">
            <a:extLst>
              <a:ext uri="{FF2B5EF4-FFF2-40B4-BE49-F238E27FC236}">
                <a16:creationId xmlns:a16="http://schemas.microsoft.com/office/drawing/2014/main" id="{0E073A1F-1DB0-C8F3-B5A5-E04C54351C39}"/>
              </a:ext>
            </a:extLst>
          </p:cNvPr>
          <p:cNvSpPr txBox="1"/>
          <p:nvPr/>
        </p:nvSpPr>
        <p:spPr>
          <a:xfrm>
            <a:off x="431620" y="2026830"/>
            <a:ext cx="7100151" cy="648063"/>
          </a:xfrm>
          <a:prstGeom prst="rect">
            <a:avLst/>
          </a:prstGeom>
          <a:noFill/>
          <a:ln w="12700" cap="sq">
            <a:noFill/>
            <a:miter lim="800000"/>
          </a:ln>
        </p:spPr>
        <p:txBody>
          <a:bodyPr wrap="square" lIns="0" tIns="36576" rIns="0" bIns="0" rtlCol="0">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Segoe UI" panose="020B0502040204020203" pitchFamily="34" charset="0"/>
              </a:rPr>
              <a:t>Investimenti Partecipativi </a:t>
            </a:r>
            <a:r>
              <a:rPr kumimoji="0" lang="it-IT" sz="16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Segoe UI" panose="020B0502040204020203" pitchFamily="34" charset="0"/>
              </a:rPr>
              <a:t>per </a:t>
            </a:r>
            <a:r>
              <a:rPr kumimoji="0" lang="it-IT" sz="16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l’insediamento all’estero </a:t>
            </a:r>
            <a:r>
              <a:rPr kumimoji="0" lang="it-IT" sz="16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Segoe UI" panose="020B0502040204020203" pitchFamily="34" charset="0"/>
              </a:rPr>
              <a:t>delle imprese italiane con affiancamento di </a:t>
            </a:r>
            <a:r>
              <a:rPr kumimoji="0" lang="it-IT" sz="16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un</a:t>
            </a:r>
            <a:r>
              <a:rPr kumimoji="0" lang="it-IT" sz="16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 Partner istituzionale</a:t>
            </a:r>
          </a:p>
        </p:txBody>
      </p:sp>
      <p:sp>
        <p:nvSpPr>
          <p:cNvPr id="102" name="TextBox 28">
            <a:extLst>
              <a:ext uri="{FF2B5EF4-FFF2-40B4-BE49-F238E27FC236}">
                <a16:creationId xmlns:a16="http://schemas.microsoft.com/office/drawing/2014/main" id="{08F4F96F-7EA6-DE3E-C9FF-55A1A5649FF9}"/>
              </a:ext>
            </a:extLst>
          </p:cNvPr>
          <p:cNvSpPr txBox="1"/>
          <p:nvPr/>
        </p:nvSpPr>
        <p:spPr>
          <a:xfrm>
            <a:off x="413792" y="3760704"/>
            <a:ext cx="7100150" cy="590931"/>
          </a:xfrm>
          <a:prstGeom prst="rect">
            <a:avLst/>
          </a:prstGeom>
          <a:noFill/>
          <a:ln w="12700" cap="sq">
            <a:noFill/>
            <a:miter lim="800000"/>
          </a:ln>
        </p:spPr>
        <p:txBody>
          <a:bodyPr wrap="square" lIns="0" tIns="36576" rIns="0" bIns="0" rtlCol="0">
            <a:spAutoFit/>
          </a:bodyPr>
          <a:lstStyle/>
          <a:p>
            <a:pPr marL="0" marR="0" lvl="1" indent="0" algn="ctr" defTabSz="914400" rtl="0" eaLnBrk="1" fontAlgn="auto" latinLnBrk="0" hangingPunct="1">
              <a:lnSpc>
                <a:spcPct val="100000"/>
              </a:lnSpc>
              <a:spcBef>
                <a:spcPts val="1200"/>
              </a:spcBef>
              <a:spcAft>
                <a:spcPts val="120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Univers Condensed" panose="020B0506020202050204" pitchFamily="34" charset="0"/>
                <a:ea typeface="Times New Roman" panose="02020603050405020304" pitchFamily="18" charset="0"/>
                <a:cs typeface="Segoe UI" panose="020B0502040204020203" pitchFamily="34" charset="0"/>
              </a:rPr>
              <a:t>Finanziamenti agevolati </a:t>
            </a:r>
            <a:r>
              <a:rPr kumimoji="0" lang="it-IT" sz="1600" b="0" i="0" u="none" strike="noStrike" kern="1200" cap="none" spc="0" normalizeH="0" baseline="0" noProof="0" dirty="0">
                <a:ln>
                  <a:noFill/>
                </a:ln>
                <a:solidFill>
                  <a:srgbClr val="415364"/>
                </a:solidFill>
                <a:effectLst/>
                <a:uLnTx/>
                <a:uFillTx/>
                <a:latin typeface="Univers Condensed" panose="020B0506020202050204" pitchFamily="34" charset="0"/>
                <a:ea typeface="Times New Roman" panose="02020603050405020304" pitchFamily="18" charset="0"/>
                <a:cs typeface="Segoe UI" panose="020B0502040204020203" pitchFamily="34" charset="0"/>
              </a:rPr>
              <a:t>per investimenti in </a:t>
            </a:r>
            <a:r>
              <a:rPr kumimoji="0" lang="it-IT" sz="16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digitalizzazione, sostenibilità, sviluppo competenze e crescita sui mercati esteri</a:t>
            </a:r>
          </a:p>
        </p:txBody>
      </p:sp>
      <p:sp>
        <p:nvSpPr>
          <p:cNvPr id="103" name="TextBox 28">
            <a:extLst>
              <a:ext uri="{FF2B5EF4-FFF2-40B4-BE49-F238E27FC236}">
                <a16:creationId xmlns:a16="http://schemas.microsoft.com/office/drawing/2014/main" id="{6815FE85-81D2-F512-B78F-7D670966F690}"/>
              </a:ext>
            </a:extLst>
          </p:cNvPr>
          <p:cNvSpPr txBox="1"/>
          <p:nvPr/>
        </p:nvSpPr>
        <p:spPr>
          <a:xfrm>
            <a:off x="413792" y="4570509"/>
            <a:ext cx="7100151" cy="648063"/>
          </a:xfrm>
          <a:prstGeom prst="rect">
            <a:avLst/>
          </a:prstGeom>
          <a:noFill/>
          <a:ln w="12700" cap="sq">
            <a:noFill/>
            <a:miter lim="800000"/>
          </a:ln>
        </p:spPr>
        <p:txBody>
          <a:bodyPr wrap="square" lIns="0" tIns="36576" rIns="0" bIns="0" rtlCol="0">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Segoe UI" panose="020B0502040204020203" pitchFamily="34" charset="0"/>
              </a:rPr>
              <a:t>Contributi all’export </a:t>
            </a:r>
            <a:r>
              <a:rPr kumimoji="0" lang="it-IT" sz="16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per migliorare la </a:t>
            </a:r>
            <a:r>
              <a:rPr kumimoji="0" lang="it-IT" sz="16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competitività delle esportazioni italiane</a:t>
            </a:r>
            <a:r>
              <a:rPr kumimoji="0" lang="it-IT" sz="1600" b="1" i="0" u="none" strike="noStrike" kern="1200" cap="none" spc="0" normalizeH="0" baseline="0" noProof="0" dirty="0">
                <a:ln>
                  <a:noFill/>
                </a:ln>
                <a:solidFill>
                  <a:srgbClr val="5F85B1"/>
                </a:solidFill>
                <a:effectLst/>
                <a:uLnTx/>
                <a:uFillTx/>
                <a:latin typeface="Univers Condensed" panose="020B0506020202050204" pitchFamily="34" charset="0"/>
                <a:ea typeface="+mn-ea"/>
                <a:cs typeface="+mn-cs"/>
              </a:rPr>
              <a:t> </a:t>
            </a:r>
            <a:r>
              <a:rPr kumimoji="0" lang="it-IT" sz="16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attraverso l’</a:t>
            </a:r>
            <a:r>
              <a:rPr kumimoji="0" lang="it-IT" sz="16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abbattimento dei costi finanziari </a:t>
            </a:r>
          </a:p>
        </p:txBody>
      </p:sp>
      <p:sp>
        <p:nvSpPr>
          <p:cNvPr id="10" name="TextBox 28">
            <a:extLst>
              <a:ext uri="{FF2B5EF4-FFF2-40B4-BE49-F238E27FC236}">
                <a16:creationId xmlns:a16="http://schemas.microsoft.com/office/drawing/2014/main" id="{708F8251-C98E-FC79-250A-82E99E4CE622}"/>
              </a:ext>
            </a:extLst>
          </p:cNvPr>
          <p:cNvSpPr txBox="1"/>
          <p:nvPr/>
        </p:nvSpPr>
        <p:spPr>
          <a:xfrm>
            <a:off x="471277" y="1419758"/>
            <a:ext cx="7020838" cy="406265"/>
          </a:xfrm>
          <a:prstGeom prst="rect">
            <a:avLst/>
          </a:prstGeom>
          <a:noFill/>
          <a:ln w="12700" cap="sq">
            <a:noFill/>
            <a:miter lim="800000"/>
          </a:ln>
        </p:spPr>
        <p:txBody>
          <a:bodyPr wrap="square" lIns="0" tIns="36576" rIns="0" bIns="0" rtlCol="0">
            <a:spAutoFit/>
          </a:bodyPr>
          <a:lstStyle/>
          <a:p>
            <a:pPr marL="0" marR="0" lvl="1" indent="0" algn="ctr" defTabSz="914400" rtl="0" eaLnBrk="1" fontAlgn="auto" latinLnBrk="0" hangingPunct="1">
              <a:lnSpc>
                <a:spcPct val="100000"/>
              </a:lnSpc>
              <a:spcBef>
                <a:spcPts val="1200"/>
              </a:spcBef>
              <a:spcAft>
                <a:spcPts val="1200"/>
              </a:spcAft>
              <a:buClrTx/>
              <a:buSzTx/>
              <a:buFontTx/>
              <a:buNone/>
              <a:tabLst/>
              <a:defRPr/>
            </a:pPr>
            <a:r>
              <a:rPr kumimoji="0" lang="it-IT" sz="2400" b="1" i="0" u="none" strike="noStrike" kern="1200" cap="none" spc="0" normalizeH="0" baseline="0" noProof="0" dirty="0">
                <a:ln>
                  <a:noFill/>
                </a:ln>
                <a:solidFill>
                  <a:srgbClr val="005392"/>
                </a:solidFill>
                <a:effectLst/>
                <a:uLnTx/>
                <a:uFillTx/>
                <a:latin typeface="Univers Condensed" panose="020B0506020202050204" pitchFamily="34" charset="0"/>
                <a:ea typeface="Times New Roman" panose="02020603050405020304" pitchFamily="18" charset="0"/>
                <a:cs typeface="Segoe UI" panose="020B0502040204020203" pitchFamily="34" charset="0"/>
              </a:rPr>
              <a:t>L’offerta di SIMEST</a:t>
            </a:r>
            <a:endParaRPr kumimoji="0" lang="it-IT" sz="2000" b="1" i="0" u="none" strike="noStrike" kern="1200" cap="none" spc="0" normalizeH="0" baseline="0" noProof="0" dirty="0">
              <a:ln>
                <a:noFill/>
              </a:ln>
              <a:solidFill>
                <a:srgbClr val="B5C8E5">
                  <a:lumMod val="75000"/>
                </a:srgbClr>
              </a:solidFill>
              <a:effectLst/>
              <a:uLnTx/>
              <a:uFillTx/>
              <a:latin typeface="Univers Condensed" panose="020B0506020202050204" pitchFamily="34" charset="0"/>
              <a:ea typeface="+mn-ea"/>
              <a:cs typeface="Segoe UI" panose="020B0502040204020203" pitchFamily="34" charset="0"/>
            </a:endParaRPr>
          </a:p>
        </p:txBody>
      </p:sp>
      <p:sp>
        <p:nvSpPr>
          <p:cNvPr id="4" name="Segnaposto numero diapositiva 3">
            <a:extLst>
              <a:ext uri="{FF2B5EF4-FFF2-40B4-BE49-F238E27FC236}">
                <a16:creationId xmlns:a16="http://schemas.microsoft.com/office/drawing/2014/main" id="{F4590DED-A934-EB10-66A2-E023D3201B1F}"/>
              </a:ext>
            </a:extLst>
          </p:cNvPr>
          <p:cNvSpPr>
            <a:spLocks noGrp="1"/>
          </p:cNvSpPr>
          <p:nvPr>
            <p:ph type="sldNum" sz="quarter" idx="12"/>
          </p:nvPr>
        </p:nvSpPr>
        <p:spPr>
          <a:xfrm>
            <a:off x="165549" y="6482210"/>
            <a:ext cx="1344083" cy="244916"/>
          </a:xfrm>
        </p:spPr>
        <p:txBody>
          <a:bodyPr vert="horz" lIns="0" tIns="0" rIns="0" bIns="0" rtlCol="0" anchor="b" anchorCtr="0"/>
          <a:lstStyle/>
          <a:p>
            <a:fld id="{608DA0FE-9C19-F746-8419-6700E348BF78}" type="slidenum">
              <a:rPr lang="it-IT"/>
              <a:pPr/>
              <a:t>2</a:t>
            </a:fld>
            <a:endParaRPr lang="it-IT" dirty="0"/>
          </a:p>
        </p:txBody>
      </p:sp>
      <p:pic>
        <p:nvPicPr>
          <p:cNvPr id="17" name="Immagine 16">
            <a:extLst>
              <a:ext uri="{FF2B5EF4-FFF2-40B4-BE49-F238E27FC236}">
                <a16:creationId xmlns:a16="http://schemas.microsoft.com/office/drawing/2014/main" id="{3495B290-A22E-3B6A-08A6-04BEE27E73EF}"/>
              </a:ext>
            </a:extLst>
          </p:cNvPr>
          <p:cNvPicPr>
            <a:picLocks noChangeAspect="1"/>
          </p:cNvPicPr>
          <p:nvPr/>
        </p:nvPicPr>
        <p:blipFill>
          <a:blip r:embed="rId7"/>
          <a:stretch>
            <a:fillRect/>
          </a:stretch>
        </p:blipFill>
        <p:spPr>
          <a:xfrm>
            <a:off x="2326290" y="1360936"/>
            <a:ext cx="150754" cy="516535"/>
          </a:xfrm>
          <a:prstGeom prst="rect">
            <a:avLst/>
          </a:prstGeom>
        </p:spPr>
      </p:pic>
      <p:sp>
        <p:nvSpPr>
          <p:cNvPr id="2" name="Triangolo isoscele 1">
            <a:extLst>
              <a:ext uri="{FF2B5EF4-FFF2-40B4-BE49-F238E27FC236}">
                <a16:creationId xmlns:a16="http://schemas.microsoft.com/office/drawing/2014/main" id="{86F2AF60-8BD5-F4D0-7198-AB3FFD6D494B}"/>
              </a:ext>
            </a:extLst>
          </p:cNvPr>
          <p:cNvSpPr/>
          <p:nvPr/>
        </p:nvSpPr>
        <p:spPr>
          <a:xfrm rot="5400000">
            <a:off x="5209566" y="3447089"/>
            <a:ext cx="5214681" cy="526995"/>
          </a:xfrm>
          <a:prstGeom prst="triangle">
            <a:avLst>
              <a:gd name="adj" fmla="val 5019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Univers Condensed" panose="020B0506020202050204" pitchFamily="34" charset="0"/>
              <a:ea typeface="+mn-ea"/>
              <a:cs typeface="+mn-cs"/>
            </a:endParaRPr>
          </a:p>
        </p:txBody>
      </p:sp>
      <p:sp>
        <p:nvSpPr>
          <p:cNvPr id="3" name="Rettangolo 2">
            <a:extLst>
              <a:ext uri="{FF2B5EF4-FFF2-40B4-BE49-F238E27FC236}">
                <a16:creationId xmlns:a16="http://schemas.microsoft.com/office/drawing/2014/main" id="{608E28BE-33D0-5549-25AA-1517419C1513}"/>
              </a:ext>
            </a:extLst>
          </p:cNvPr>
          <p:cNvSpPr/>
          <p:nvPr/>
        </p:nvSpPr>
        <p:spPr>
          <a:xfrm>
            <a:off x="8256669" y="1408264"/>
            <a:ext cx="3424397" cy="1030886"/>
          </a:xfrm>
          <a:prstGeom prst="rect">
            <a:avLst/>
          </a:prstGeom>
          <a:solidFill>
            <a:schemeClr val="bg1">
              <a:alpha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it-IT" sz="3600" b="1" dirty="0">
                <a:solidFill>
                  <a:schemeClr val="accent2"/>
                </a:solidFill>
                <a:latin typeface="Univers Condensed" panose="020B0506020202050204" pitchFamily="34" charset="0"/>
                <a:ea typeface="Verdana" panose="020B0604030504040204" pitchFamily="34" charset="0"/>
                <a:cs typeface="Helvetica" panose="020B0604020202020204" pitchFamily="34" charset="0"/>
              </a:rPr>
              <a:t>~31 €mld</a:t>
            </a:r>
          </a:p>
          <a:p>
            <a:pPr algn="ctr">
              <a:defRPr/>
            </a:pPr>
            <a:r>
              <a:rPr lang="it-IT" b="1" dirty="0">
                <a:solidFill>
                  <a:schemeClr val="accent1"/>
                </a:solidFill>
                <a:latin typeface="Univers Condensed" panose="020B0506020202050204" pitchFamily="34" charset="0"/>
                <a:ea typeface="Verdana" panose="020B0604030504040204" pitchFamily="34" charset="0"/>
                <a:cs typeface="Helvetica" panose="020B0604020202020204" pitchFamily="34" charset="0"/>
                <a:rtl val="0"/>
              </a:rPr>
              <a:t>Risorse gestite in portafoglio</a:t>
            </a:r>
          </a:p>
        </p:txBody>
      </p:sp>
      <p:sp>
        <p:nvSpPr>
          <p:cNvPr id="7" name="Rettangolo 6">
            <a:extLst>
              <a:ext uri="{FF2B5EF4-FFF2-40B4-BE49-F238E27FC236}">
                <a16:creationId xmlns:a16="http://schemas.microsoft.com/office/drawing/2014/main" id="{5417A769-C332-1ABA-971F-08CA14ED0F32}"/>
              </a:ext>
            </a:extLst>
          </p:cNvPr>
          <p:cNvSpPr/>
          <p:nvPr/>
        </p:nvSpPr>
        <p:spPr>
          <a:xfrm>
            <a:off x="8256669" y="2571097"/>
            <a:ext cx="3424397" cy="1030886"/>
          </a:xfrm>
          <a:prstGeom prst="rect">
            <a:avLst/>
          </a:prstGeom>
          <a:solidFill>
            <a:schemeClr val="bg1">
              <a:alpha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noProof="0" dirty="0">
                <a:ln>
                  <a:noFill/>
                </a:ln>
                <a:solidFill>
                  <a:schemeClr val="accent2"/>
                </a:solidFill>
                <a:effectLst/>
                <a:uLnTx/>
                <a:uFillTx/>
                <a:latin typeface="Univers Condensed" panose="020B0506020202050204" pitchFamily="34" charset="0"/>
                <a:ea typeface="Verdana" panose="020B0604030504040204" pitchFamily="34" charset="0"/>
                <a:cs typeface="Helvetica" panose="020B0604020202020204" pitchFamily="34" charset="0"/>
              </a:rPr>
              <a:t>~16.0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b="1" i="0" u="none" strike="noStrike" kern="1200" cap="none" spc="0" normalizeH="0" baseline="0" noProof="0" dirty="0">
                <a:ln>
                  <a:noFill/>
                </a:ln>
                <a:solidFill>
                  <a:schemeClr val="accent1"/>
                </a:solidFill>
                <a:effectLst/>
                <a:uLnTx/>
                <a:uFillTx/>
                <a:latin typeface="Univers Condensed" panose="020B0506020202050204" pitchFamily="34" charset="0"/>
                <a:ea typeface="Verdana" panose="020B0604030504040204" pitchFamily="34" charset="0"/>
                <a:cs typeface="Helvetica" panose="020B0604020202020204" pitchFamily="34" charset="0"/>
                <a:rtl val="0"/>
              </a:rPr>
              <a:t>Clienti attivi in portafoglio</a:t>
            </a:r>
          </a:p>
        </p:txBody>
      </p:sp>
      <p:sp>
        <p:nvSpPr>
          <p:cNvPr id="9" name="Rettangolo 8">
            <a:extLst>
              <a:ext uri="{FF2B5EF4-FFF2-40B4-BE49-F238E27FC236}">
                <a16:creationId xmlns:a16="http://schemas.microsoft.com/office/drawing/2014/main" id="{F46507E7-E227-71BE-EFE8-252232271E57}"/>
              </a:ext>
            </a:extLst>
          </p:cNvPr>
          <p:cNvSpPr/>
          <p:nvPr/>
        </p:nvSpPr>
        <p:spPr>
          <a:xfrm>
            <a:off x="8272764" y="3733930"/>
            <a:ext cx="3424397" cy="1030886"/>
          </a:xfrm>
          <a:prstGeom prst="rect">
            <a:avLst/>
          </a:prstGeom>
          <a:solidFill>
            <a:schemeClr val="bg1">
              <a:alpha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it-IT" sz="3600" b="1" dirty="0">
                <a:solidFill>
                  <a:schemeClr val="accent2"/>
                </a:solidFill>
                <a:latin typeface="Univers Condensed" panose="020B0506020202050204" pitchFamily="34" charset="0"/>
                <a:ea typeface="Verdana" panose="020B0604030504040204" pitchFamily="34" charset="0"/>
                <a:cs typeface="Helvetica" panose="020B0604020202020204" pitchFamily="34" charset="0"/>
              </a:rPr>
              <a:t>90%</a:t>
            </a:r>
          </a:p>
          <a:p>
            <a:pPr algn="ctr">
              <a:defRPr/>
            </a:pPr>
            <a:r>
              <a:rPr lang="it-IT" b="1" dirty="0">
                <a:solidFill>
                  <a:schemeClr val="accent1"/>
                </a:solidFill>
                <a:latin typeface="Univers Condensed" panose="020B0506020202050204" pitchFamily="34" charset="0"/>
                <a:ea typeface="Verdana" panose="020B0604030504040204" pitchFamily="34" charset="0"/>
                <a:cs typeface="Helvetica" panose="020B0604020202020204" pitchFamily="34" charset="0"/>
                <a:rtl val="0"/>
              </a:rPr>
              <a:t>PMI supportate</a:t>
            </a:r>
          </a:p>
        </p:txBody>
      </p:sp>
      <p:sp>
        <p:nvSpPr>
          <p:cNvPr id="11" name="Rettangolo 10">
            <a:extLst>
              <a:ext uri="{FF2B5EF4-FFF2-40B4-BE49-F238E27FC236}">
                <a16:creationId xmlns:a16="http://schemas.microsoft.com/office/drawing/2014/main" id="{C1A21D9F-0C73-7F42-A7FE-9965BB7895E3}"/>
              </a:ext>
            </a:extLst>
          </p:cNvPr>
          <p:cNvSpPr/>
          <p:nvPr/>
        </p:nvSpPr>
        <p:spPr>
          <a:xfrm>
            <a:off x="8272764" y="4896763"/>
            <a:ext cx="3424397" cy="1030886"/>
          </a:xfrm>
          <a:prstGeom prst="rect">
            <a:avLst/>
          </a:prstGeom>
          <a:solidFill>
            <a:schemeClr val="bg1">
              <a:alpha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noProof="0" dirty="0">
                <a:ln>
                  <a:noFill/>
                </a:ln>
                <a:solidFill>
                  <a:schemeClr val="accent2"/>
                </a:solidFill>
                <a:effectLst/>
                <a:uLnTx/>
                <a:uFillTx/>
                <a:latin typeface="Univers Condensed" panose="020B0506020202050204" pitchFamily="34" charset="0"/>
                <a:ea typeface="Verdana" panose="020B0604030504040204" pitchFamily="34" charset="0"/>
                <a:cs typeface="Helvetica" panose="020B0604020202020204" pitchFamily="34" charset="0"/>
              </a:rPr>
              <a:t>~12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b="1" i="0" u="none" strike="noStrike" kern="1200" cap="none" spc="0" normalizeH="0" baseline="0" noProof="0" dirty="0">
                <a:ln>
                  <a:noFill/>
                </a:ln>
                <a:solidFill>
                  <a:schemeClr val="accent1"/>
                </a:solidFill>
                <a:effectLst/>
                <a:uLnTx/>
                <a:uFillTx/>
                <a:latin typeface="Univers Condensed" panose="020B0506020202050204" pitchFamily="34" charset="0"/>
                <a:ea typeface="Verdana" panose="020B0604030504040204" pitchFamily="34" charset="0"/>
                <a:cs typeface="Helvetica" panose="020B0604020202020204" pitchFamily="34" charset="0"/>
                <a:rtl val="0"/>
              </a:rPr>
              <a:t>Paesi di destinazione</a:t>
            </a:r>
          </a:p>
        </p:txBody>
      </p:sp>
      <p:sp>
        <p:nvSpPr>
          <p:cNvPr id="5" name="TextBox 27">
            <a:extLst>
              <a:ext uri="{FF2B5EF4-FFF2-40B4-BE49-F238E27FC236}">
                <a16:creationId xmlns:a16="http://schemas.microsoft.com/office/drawing/2014/main" id="{975E94DB-6727-361A-B4CB-E3D26624CF97}"/>
              </a:ext>
            </a:extLst>
          </p:cNvPr>
          <p:cNvSpPr txBox="1"/>
          <p:nvPr/>
        </p:nvSpPr>
        <p:spPr>
          <a:xfrm>
            <a:off x="471277" y="2893767"/>
            <a:ext cx="7100151" cy="648063"/>
          </a:xfrm>
          <a:prstGeom prst="rect">
            <a:avLst/>
          </a:prstGeom>
          <a:noFill/>
          <a:ln w="12700" cap="sq">
            <a:noFill/>
            <a:miter lim="800000"/>
          </a:ln>
        </p:spPr>
        <p:txBody>
          <a:bodyPr wrap="square" lIns="0" tIns="36576" rIns="0" bIns="0" rtlCol="0">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Segoe UI" panose="020B0502040204020203" pitchFamily="34" charset="0"/>
              </a:rPr>
              <a:t>Investimenti in Equity</a:t>
            </a:r>
            <a:r>
              <a:rPr kumimoji="0" lang="it-IT" sz="16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Segoe UI" panose="020B0502040204020203" pitchFamily="34" charset="0"/>
              </a:rPr>
              <a:t> </a:t>
            </a:r>
            <a:r>
              <a:rPr kumimoji="0" lang="it-IT" sz="160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per la </a:t>
            </a:r>
            <a:r>
              <a:rPr kumimoji="0" lang="it-IT" sz="16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crescita delle PMI sui mercati esteri </a:t>
            </a:r>
            <a:r>
              <a:rPr kumimoji="0" lang="it-IT" sz="160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e per </a:t>
            </a:r>
            <a:r>
              <a:rPr kumimoji="0" lang="it-IT" sz="16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progetti infrastrutturali internazionali</a:t>
            </a:r>
          </a:p>
        </p:txBody>
      </p:sp>
    </p:spTree>
    <p:extLst>
      <p:ext uri="{BB962C8B-B14F-4D97-AF65-F5344CB8AC3E}">
        <p14:creationId xmlns:p14="http://schemas.microsoft.com/office/powerpoint/2010/main" val="5338990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0" name="Gruppo 59">
            <a:extLst>
              <a:ext uri="{FF2B5EF4-FFF2-40B4-BE49-F238E27FC236}">
                <a16:creationId xmlns:a16="http://schemas.microsoft.com/office/drawing/2014/main" id="{F539FC96-2C8B-D986-6B16-CD264F7A669A}"/>
              </a:ext>
            </a:extLst>
          </p:cNvPr>
          <p:cNvGrpSpPr/>
          <p:nvPr/>
        </p:nvGrpSpPr>
        <p:grpSpPr>
          <a:xfrm>
            <a:off x="6935777" y="1993210"/>
            <a:ext cx="1142362" cy="1647824"/>
            <a:chOff x="6402773" y="1991189"/>
            <a:chExt cx="1045484" cy="1649249"/>
          </a:xfrm>
          <a:effectLst/>
        </p:grpSpPr>
        <p:pic>
          <p:nvPicPr>
            <p:cNvPr id="26" name="j3.jpg" descr="j3.jpg">
              <a:extLst>
                <a:ext uri="{FF2B5EF4-FFF2-40B4-BE49-F238E27FC236}">
                  <a16:creationId xmlns:a16="http://schemas.microsoft.com/office/drawing/2014/main" id="{F562E72A-1F99-AD21-25C9-E2765D422D45}"/>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6402773" y="1991189"/>
              <a:ext cx="1045484" cy="1649249"/>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3" name="COMPETENZE">
              <a:extLst>
                <a:ext uri="{FF2B5EF4-FFF2-40B4-BE49-F238E27FC236}">
                  <a16:creationId xmlns:a16="http://schemas.microsoft.com/office/drawing/2014/main" id="{A4BD652A-332D-015E-B1DF-F02C9EA1C38F}"/>
                </a:ext>
              </a:extLst>
            </p:cNvPr>
            <p:cNvSpPr txBox="1"/>
            <p:nvPr/>
          </p:nvSpPr>
          <p:spPr>
            <a:xfrm>
              <a:off x="6402773" y="2160927"/>
              <a:ext cx="1045475" cy="215205"/>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rPr>
                <a:t>TEMPORARY MANAGER</a:t>
              </a:r>
              <a:endParaRPr kumimoji="0"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endParaRPr>
            </a:p>
          </p:txBody>
        </p:sp>
      </p:grpSp>
      <p:grpSp>
        <p:nvGrpSpPr>
          <p:cNvPr id="61" name="Gruppo 60">
            <a:extLst>
              <a:ext uri="{FF2B5EF4-FFF2-40B4-BE49-F238E27FC236}">
                <a16:creationId xmlns:a16="http://schemas.microsoft.com/office/drawing/2014/main" id="{3883025D-EE97-9EAF-806A-734666AB7C6F}"/>
              </a:ext>
            </a:extLst>
          </p:cNvPr>
          <p:cNvGrpSpPr/>
          <p:nvPr/>
        </p:nvGrpSpPr>
        <p:grpSpPr>
          <a:xfrm>
            <a:off x="9697632" y="1999871"/>
            <a:ext cx="1152527" cy="1647305"/>
            <a:chOff x="8236525" y="1991189"/>
            <a:chExt cx="1054787" cy="1648729"/>
          </a:xfrm>
          <a:effectLst/>
        </p:grpSpPr>
        <p:pic>
          <p:nvPicPr>
            <p:cNvPr id="30" name="shutterstock_1066234574.jpg" descr="shutterstock_1066234574.jpg">
              <a:extLst>
                <a:ext uri="{FF2B5EF4-FFF2-40B4-BE49-F238E27FC236}">
                  <a16:creationId xmlns:a16="http://schemas.microsoft.com/office/drawing/2014/main" id="{B70E6C9A-D349-2354-29D6-41FB9E61BF9A}"/>
                </a:ext>
              </a:extLst>
            </p:cNvPr>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a:xfrm>
              <a:off x="8236525" y="1991189"/>
              <a:ext cx="1045484" cy="1648729"/>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4" name="FIERE ED EVENTI">
              <a:extLst>
                <a:ext uri="{FF2B5EF4-FFF2-40B4-BE49-F238E27FC236}">
                  <a16:creationId xmlns:a16="http://schemas.microsoft.com/office/drawing/2014/main" id="{D5992B67-12C2-BD79-9F20-A11E829213F0}"/>
                </a:ext>
              </a:extLst>
            </p:cNvPr>
            <p:cNvSpPr txBox="1"/>
            <p:nvPr/>
          </p:nvSpPr>
          <p:spPr>
            <a:xfrm>
              <a:off x="8245838" y="2153227"/>
              <a:ext cx="1045474" cy="2150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rPr>
                <a:t>FIERE ED EVENTI</a:t>
              </a:r>
            </a:p>
          </p:txBody>
        </p:sp>
      </p:grpSp>
      <p:grpSp>
        <p:nvGrpSpPr>
          <p:cNvPr id="57" name="Gruppo 56">
            <a:extLst>
              <a:ext uri="{FF2B5EF4-FFF2-40B4-BE49-F238E27FC236}">
                <a16:creationId xmlns:a16="http://schemas.microsoft.com/office/drawing/2014/main" id="{722BC6D7-91FD-BC76-B0F5-15E4E91D349F}"/>
              </a:ext>
            </a:extLst>
          </p:cNvPr>
          <p:cNvGrpSpPr/>
          <p:nvPr/>
        </p:nvGrpSpPr>
        <p:grpSpPr>
          <a:xfrm>
            <a:off x="157763" y="1969462"/>
            <a:ext cx="1142362" cy="1655053"/>
            <a:chOff x="876230" y="1996824"/>
            <a:chExt cx="1045484" cy="1656484"/>
          </a:xfrm>
          <a:effectLst/>
        </p:grpSpPr>
        <p:pic>
          <p:nvPicPr>
            <p:cNvPr id="28" name="shutterstock_1785478235.jpg" descr="shutterstock_1785478235.jpg">
              <a:extLst>
                <a:ext uri="{FF2B5EF4-FFF2-40B4-BE49-F238E27FC236}">
                  <a16:creationId xmlns:a16="http://schemas.microsoft.com/office/drawing/2014/main" id="{8AB6B07A-1239-B5DE-4F64-DA8488CC3438}"/>
                </a:ext>
              </a:extLst>
            </p:cNvPr>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a:xfrm>
              <a:off x="876230" y="1996824"/>
              <a:ext cx="1045484" cy="1656484"/>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8" name="COMPETENZE">
              <a:extLst>
                <a:ext uri="{FF2B5EF4-FFF2-40B4-BE49-F238E27FC236}">
                  <a16:creationId xmlns:a16="http://schemas.microsoft.com/office/drawing/2014/main" id="{E460DC0F-9F74-1F62-7E9A-0CDBE598480F}"/>
                </a:ext>
              </a:extLst>
            </p:cNvPr>
            <p:cNvSpPr txBox="1"/>
            <p:nvPr/>
          </p:nvSpPr>
          <p:spPr>
            <a:xfrm>
              <a:off x="876239" y="2173227"/>
              <a:ext cx="1045475" cy="326101"/>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rPr>
                <a:t>Transizione digitale o ecologica</a:t>
              </a:r>
              <a:endParaRPr kumimoji="0"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endParaRPr>
            </a:p>
          </p:txBody>
        </p:sp>
      </p:grpSp>
      <p:grpSp>
        <p:nvGrpSpPr>
          <p:cNvPr id="59" name="Gruppo 58">
            <a:extLst>
              <a:ext uri="{FF2B5EF4-FFF2-40B4-BE49-F238E27FC236}">
                <a16:creationId xmlns:a16="http://schemas.microsoft.com/office/drawing/2014/main" id="{6877BDF5-7490-A7A9-B1EA-78B2816F53AB}"/>
              </a:ext>
            </a:extLst>
          </p:cNvPr>
          <p:cNvGrpSpPr/>
          <p:nvPr/>
        </p:nvGrpSpPr>
        <p:grpSpPr>
          <a:xfrm>
            <a:off x="5674497" y="1992954"/>
            <a:ext cx="1149949" cy="1648336"/>
            <a:chOff x="4531402" y="1991190"/>
            <a:chExt cx="1052426" cy="1649762"/>
          </a:xfrm>
          <a:effectLst/>
        </p:grpSpPr>
        <p:pic>
          <p:nvPicPr>
            <p:cNvPr id="27" name="x1.jpg" descr="x1.jpg">
              <a:extLst>
                <a:ext uri="{FF2B5EF4-FFF2-40B4-BE49-F238E27FC236}">
                  <a16:creationId xmlns:a16="http://schemas.microsoft.com/office/drawing/2014/main" id="{01135440-2B94-FA8B-7B67-7B0699CC72A0}"/>
                </a:ext>
              </a:extLst>
            </p:cNvPr>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a:xfrm>
              <a:off x="4531402" y="1991190"/>
              <a:ext cx="1045484" cy="1649762"/>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9" name="COMPETENZE">
              <a:extLst>
                <a:ext uri="{FF2B5EF4-FFF2-40B4-BE49-F238E27FC236}">
                  <a16:creationId xmlns:a16="http://schemas.microsoft.com/office/drawing/2014/main" id="{3547111C-8011-7E9B-B317-86495049EC95}"/>
                </a:ext>
              </a:extLst>
            </p:cNvPr>
            <p:cNvSpPr txBox="1"/>
            <p:nvPr/>
          </p:nvSpPr>
          <p:spPr>
            <a:xfrm>
              <a:off x="4538353" y="2123448"/>
              <a:ext cx="1045475" cy="3258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rPr>
                <a:t>CERTIFICAZIONI E CONSULENZE</a:t>
              </a:r>
              <a:endParaRPr kumimoji="0"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endParaRPr>
            </a:p>
          </p:txBody>
        </p:sp>
      </p:grpSp>
      <p:grpSp>
        <p:nvGrpSpPr>
          <p:cNvPr id="58" name="Gruppo 57">
            <a:extLst>
              <a:ext uri="{FF2B5EF4-FFF2-40B4-BE49-F238E27FC236}">
                <a16:creationId xmlns:a16="http://schemas.microsoft.com/office/drawing/2014/main" id="{83EBF93E-B380-2D71-4D07-ED68A9D807A8}"/>
              </a:ext>
            </a:extLst>
          </p:cNvPr>
          <p:cNvGrpSpPr/>
          <p:nvPr/>
        </p:nvGrpSpPr>
        <p:grpSpPr>
          <a:xfrm>
            <a:off x="8478410" y="2008254"/>
            <a:ext cx="1142353" cy="1646919"/>
            <a:chOff x="2719549" y="1991850"/>
            <a:chExt cx="1045475" cy="1648343"/>
          </a:xfrm>
          <a:effectLst/>
        </p:grpSpPr>
        <p:pic>
          <p:nvPicPr>
            <p:cNvPr id="31" name="Immagine 30" descr="Immagine 11">
              <a:extLst>
                <a:ext uri="{FF2B5EF4-FFF2-40B4-BE49-F238E27FC236}">
                  <a16:creationId xmlns:a16="http://schemas.microsoft.com/office/drawing/2014/main" id="{75AB3698-94DD-8F72-3B6E-B9BFF2960740}"/>
                </a:ext>
              </a:extLst>
            </p:cNvPr>
            <p:cNvPicPr>
              <a:picLocks noChangeAspect="1"/>
            </p:cNvPicPr>
            <p:nvPr/>
          </p:nvPicPr>
          <p:blipFill>
            <a:blip r:embed="rId6" cstate="email">
              <a:extLst>
                <a:ext uri="{28A0092B-C50C-407E-A947-70E740481C1C}">
                  <a14:useLocalDpi xmlns:a14="http://schemas.microsoft.com/office/drawing/2010/main" val="0"/>
                </a:ext>
              </a:extLst>
            </a:blip>
            <a:srcRect/>
            <a:stretch>
              <a:fillRect/>
            </a:stretch>
          </p:blipFill>
          <p:spPr>
            <a:xfrm>
              <a:off x="2722314" y="1991850"/>
              <a:ext cx="1036310" cy="1648343"/>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40" name="COMPETENZE">
              <a:extLst>
                <a:ext uri="{FF2B5EF4-FFF2-40B4-BE49-F238E27FC236}">
                  <a16:creationId xmlns:a16="http://schemas.microsoft.com/office/drawing/2014/main" id="{45E216BE-E772-7D05-45DC-67D502F27BC5}"/>
                </a:ext>
              </a:extLst>
            </p:cNvPr>
            <p:cNvSpPr txBox="1"/>
            <p:nvPr/>
          </p:nvSpPr>
          <p:spPr>
            <a:xfrm>
              <a:off x="2719549" y="2167642"/>
              <a:ext cx="1045475" cy="215205"/>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rPr>
                <a:t>Inserimento mercati</a:t>
              </a:r>
              <a:endParaRPr kumimoji="0"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endParaRPr>
            </a:p>
          </p:txBody>
        </p:sp>
      </p:grpSp>
      <p:grpSp>
        <p:nvGrpSpPr>
          <p:cNvPr id="44" name="Gruppo 43">
            <a:extLst>
              <a:ext uri="{FF2B5EF4-FFF2-40B4-BE49-F238E27FC236}">
                <a16:creationId xmlns:a16="http://schemas.microsoft.com/office/drawing/2014/main" id="{9B9DF82C-4DB4-D913-E183-701F4557FDE5}"/>
              </a:ext>
            </a:extLst>
          </p:cNvPr>
          <p:cNvGrpSpPr/>
          <p:nvPr/>
        </p:nvGrpSpPr>
        <p:grpSpPr>
          <a:xfrm>
            <a:off x="1396491" y="1951018"/>
            <a:ext cx="1142362" cy="1686178"/>
            <a:chOff x="8938578" y="1990975"/>
            <a:chExt cx="1142362" cy="1686178"/>
          </a:xfrm>
          <a:effectLst>
            <a:reflection blurRad="6350" stA="52000" endA="300" endPos="35000" dir="5400000" sy="-100000" algn="bl" rotWithShape="0"/>
          </a:effectLst>
        </p:grpSpPr>
        <p:sp>
          <p:nvSpPr>
            <p:cNvPr id="18" name="Rettangolo con angoli arrotondati 17">
              <a:extLst>
                <a:ext uri="{FF2B5EF4-FFF2-40B4-BE49-F238E27FC236}">
                  <a16:creationId xmlns:a16="http://schemas.microsoft.com/office/drawing/2014/main" id="{3725B2EE-E507-EB6E-5789-C40DED0CE0F2}"/>
                </a:ext>
              </a:extLst>
            </p:cNvPr>
            <p:cNvSpPr/>
            <p:nvPr/>
          </p:nvSpPr>
          <p:spPr>
            <a:xfrm>
              <a:off x="8938578" y="1990975"/>
              <a:ext cx="1142362" cy="1686178"/>
            </a:xfrm>
            <a:prstGeom prst="roundRect">
              <a:avLst/>
            </a:prstGeom>
            <a:solidFill>
              <a:srgbClr val="F2EFE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Univers Condensed" panose="020B0506020202050204" pitchFamily="34" charset="0"/>
              </a:endParaRPr>
            </a:p>
          </p:txBody>
        </p:sp>
        <p:grpSp>
          <p:nvGrpSpPr>
            <p:cNvPr id="36" name="Gruppo 35">
              <a:extLst>
                <a:ext uri="{FF2B5EF4-FFF2-40B4-BE49-F238E27FC236}">
                  <a16:creationId xmlns:a16="http://schemas.microsoft.com/office/drawing/2014/main" id="{7C41C28C-85B5-3132-AE4C-53F8B370C8D7}"/>
                </a:ext>
              </a:extLst>
            </p:cNvPr>
            <p:cNvGrpSpPr/>
            <p:nvPr/>
          </p:nvGrpSpPr>
          <p:grpSpPr>
            <a:xfrm>
              <a:off x="9047904" y="2344103"/>
              <a:ext cx="862904" cy="1314206"/>
              <a:chOff x="9059334" y="2334827"/>
              <a:chExt cx="862904" cy="1314206"/>
            </a:xfrm>
          </p:grpSpPr>
          <p:pic>
            <p:nvPicPr>
              <p:cNvPr id="6" name="Immagine 5">
                <a:extLst>
                  <a:ext uri="{FF2B5EF4-FFF2-40B4-BE49-F238E27FC236}">
                    <a16:creationId xmlns:a16="http://schemas.microsoft.com/office/drawing/2014/main" id="{9EBB6D27-C0AE-932C-4C13-AB08CAEBDE5C}"/>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t="-18422" b="-2632"/>
              <a:stretch/>
            </p:blipFill>
            <p:spPr>
              <a:xfrm>
                <a:off x="9126308" y="2334827"/>
                <a:ext cx="795930" cy="1181057"/>
              </a:xfrm>
              <a:prstGeom prst="roundRect">
                <a:avLst>
                  <a:gd name="adj" fmla="val 8594"/>
                </a:avLst>
              </a:prstGeom>
              <a:solidFill>
                <a:srgbClr val="FFFFFF">
                  <a:shade val="85000"/>
                </a:srgbClr>
              </a:solidFill>
              <a:ln>
                <a:noFill/>
              </a:ln>
              <a:effectLst/>
            </p:spPr>
          </p:pic>
          <p:sp>
            <p:nvSpPr>
              <p:cNvPr id="11" name="Rettangolo 10">
                <a:extLst>
                  <a:ext uri="{FF2B5EF4-FFF2-40B4-BE49-F238E27FC236}">
                    <a16:creationId xmlns:a16="http://schemas.microsoft.com/office/drawing/2014/main" id="{C43561C0-0FE3-A38D-C52F-22328E7A3AD9}"/>
                  </a:ext>
                </a:extLst>
              </p:cNvPr>
              <p:cNvSpPr/>
              <p:nvPr/>
            </p:nvSpPr>
            <p:spPr>
              <a:xfrm>
                <a:off x="9059334" y="3233351"/>
                <a:ext cx="310608" cy="415682"/>
              </a:xfrm>
              <a:prstGeom prst="rect">
                <a:avLst/>
              </a:prstGeom>
              <a:solidFill>
                <a:srgbClr val="F2EFEC"/>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Univers Condensed" panose="020B0506020202050204" pitchFamily="34" charset="0"/>
                </a:endParaRPr>
              </a:p>
            </p:txBody>
          </p:sp>
        </p:grpSp>
      </p:grpSp>
      <p:sp>
        <p:nvSpPr>
          <p:cNvPr id="9" name="Rettangolo arrotondato 85">
            <a:extLst>
              <a:ext uri="{FF2B5EF4-FFF2-40B4-BE49-F238E27FC236}">
                <a16:creationId xmlns:a16="http://schemas.microsoft.com/office/drawing/2014/main" id="{C872D2EE-F63B-7F56-56FD-4E4AD3D7F460}"/>
              </a:ext>
            </a:extLst>
          </p:cNvPr>
          <p:cNvSpPr/>
          <p:nvPr/>
        </p:nvSpPr>
        <p:spPr>
          <a:xfrm>
            <a:off x="1308214" y="2016995"/>
            <a:ext cx="1330920" cy="303663"/>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415364"/>
                </a:solidFill>
                <a:effectLst/>
                <a:highlight>
                  <a:srgbClr val="F2EFEC"/>
                </a:highlight>
                <a:uLnTx/>
                <a:uFillTx/>
                <a:latin typeface="Univers Condensed" panose="020B0506020202050204" pitchFamily="34" charset="0"/>
              </a:rPr>
              <a:t>POTENZIAMENTO MERCATI AFRICANI</a:t>
            </a:r>
            <a:endParaRPr kumimoji="0" lang="it-IT" sz="800" i="0" u="none" strike="noStrike" kern="1200" cap="none" spc="0" normalizeH="0" baseline="0" noProof="0" dirty="0">
              <a:ln>
                <a:noFill/>
              </a:ln>
              <a:solidFill>
                <a:srgbClr val="415364"/>
              </a:solidFill>
              <a:effectLst/>
              <a:highlight>
                <a:srgbClr val="F2EFEC"/>
              </a:highlight>
              <a:uLnTx/>
              <a:uFillTx/>
              <a:latin typeface="Univers Condensed" panose="020B0506020202050204" pitchFamily="34" charset="0"/>
            </a:endParaRPr>
          </a:p>
        </p:txBody>
      </p:sp>
      <p:sp>
        <p:nvSpPr>
          <p:cNvPr id="14" name="Rettangolo arrotondato 85">
            <a:extLst>
              <a:ext uri="{FF2B5EF4-FFF2-40B4-BE49-F238E27FC236}">
                <a16:creationId xmlns:a16="http://schemas.microsoft.com/office/drawing/2014/main" id="{A3F5A081-C50D-3D8A-8A5E-7358B4791163}"/>
              </a:ext>
            </a:extLst>
          </p:cNvPr>
          <p:cNvSpPr/>
          <p:nvPr/>
        </p:nvSpPr>
        <p:spPr>
          <a:xfrm>
            <a:off x="2778441" y="2016995"/>
            <a:ext cx="1330920" cy="303663"/>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FFFEFD"/>
                </a:solidFill>
                <a:effectLst/>
                <a:uLnTx/>
                <a:uFillTx/>
                <a:latin typeface="Univers Condensed" panose="020B0506020202050204" pitchFamily="34" charset="0"/>
              </a:rPr>
              <a:t>COMPETITIVITÀ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FFFEFD"/>
                </a:solidFill>
                <a:effectLst/>
                <a:uLnTx/>
                <a:uFillTx/>
                <a:latin typeface="Univers Condensed" panose="020B0506020202050204" pitchFamily="34" charset="0"/>
              </a:rPr>
              <a:t>AMERICA LATINA</a:t>
            </a:r>
          </a:p>
        </p:txBody>
      </p:sp>
      <p:grpSp>
        <p:nvGrpSpPr>
          <p:cNvPr id="25" name="Gruppo 24">
            <a:extLst>
              <a:ext uri="{FF2B5EF4-FFF2-40B4-BE49-F238E27FC236}">
                <a16:creationId xmlns:a16="http://schemas.microsoft.com/office/drawing/2014/main" id="{F516F95B-9436-DC74-4CF6-BEFC4A0EA174}"/>
              </a:ext>
            </a:extLst>
          </p:cNvPr>
          <p:cNvGrpSpPr/>
          <p:nvPr/>
        </p:nvGrpSpPr>
        <p:grpSpPr>
          <a:xfrm>
            <a:off x="10916863" y="1981748"/>
            <a:ext cx="1117364" cy="1673425"/>
            <a:chOff x="10057945" y="1991189"/>
            <a:chExt cx="1057807" cy="1651509"/>
          </a:xfrm>
          <a:effectLst/>
        </p:grpSpPr>
        <p:pic>
          <p:nvPicPr>
            <p:cNvPr id="29" name="tr.jpg" descr="tr.jpg">
              <a:extLst>
                <a:ext uri="{FF2B5EF4-FFF2-40B4-BE49-F238E27FC236}">
                  <a16:creationId xmlns:a16="http://schemas.microsoft.com/office/drawing/2014/main" id="{132B8B0B-C833-4815-8BD1-9FD49946A30B}"/>
                </a:ext>
              </a:extLst>
            </p:cNvPr>
            <p:cNvPicPr>
              <a:picLocks noChangeAspect="1"/>
            </p:cNvPicPr>
            <p:nvPr/>
          </p:nvPicPr>
          <p:blipFill>
            <a:blip r:embed="rId8" cstate="email">
              <a:extLst>
                <a:ext uri="{28A0092B-C50C-407E-A947-70E740481C1C}">
                  <a14:useLocalDpi xmlns:a14="http://schemas.microsoft.com/office/drawing/2010/main" val="0"/>
                </a:ext>
              </a:extLst>
            </a:blip>
            <a:srcRect/>
            <a:stretch>
              <a:fillRect/>
            </a:stretch>
          </p:blipFill>
          <p:spPr>
            <a:xfrm>
              <a:off x="10057945" y="1991189"/>
              <a:ext cx="1045484" cy="1651509"/>
            </a:xfrm>
            <a:prstGeom prst="roundRect">
              <a:avLst/>
            </a:prstGeom>
            <a:ln w="12700">
              <a:miter lim="400000"/>
            </a:ln>
            <a:effectLst>
              <a:reflection stA="50000" endPos="40000" dir="5400000" sy="-100000" algn="bl" rotWithShape="0"/>
            </a:effectLst>
          </p:spPr>
        </p:pic>
        <p:sp>
          <p:nvSpPr>
            <p:cNvPr id="32" name="E-COMMERCE">
              <a:extLst>
                <a:ext uri="{FF2B5EF4-FFF2-40B4-BE49-F238E27FC236}">
                  <a16:creationId xmlns:a16="http://schemas.microsoft.com/office/drawing/2014/main" id="{A24E1F5F-3391-8FD3-BE51-337D2CE569E3}"/>
                </a:ext>
              </a:extLst>
            </p:cNvPr>
            <p:cNvSpPr txBox="1"/>
            <p:nvPr/>
          </p:nvSpPr>
          <p:spPr>
            <a:xfrm>
              <a:off x="10070277" y="2116948"/>
              <a:ext cx="1045475" cy="238100"/>
            </a:xfrm>
            <a:prstGeom prst="round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rPr>
                <a:t>E-COMMERCE</a:t>
              </a:r>
            </a:p>
          </p:txBody>
        </p:sp>
      </p:grpSp>
      <p:sp>
        <p:nvSpPr>
          <p:cNvPr id="4" name="Segnaposto numero diapositiva 3">
            <a:extLst>
              <a:ext uri="{FF2B5EF4-FFF2-40B4-BE49-F238E27FC236}">
                <a16:creationId xmlns:a16="http://schemas.microsoft.com/office/drawing/2014/main" id="{0136F529-CC75-5B75-22D7-66D231CC8FD2}"/>
              </a:ext>
            </a:extLst>
          </p:cNvPr>
          <p:cNvSpPr>
            <a:spLocks noGrp="1"/>
          </p:cNvSpPr>
          <p:nvPr>
            <p:ph type="sldNum" sz="quarter" idx="12"/>
          </p:nvPr>
        </p:nvSpPr>
        <p:spPr>
          <a:xfrm>
            <a:off x="334433" y="6109172"/>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it-IT" sz="1067" b="0" i="0" u="none" strike="noStrike" kern="1200" cap="none" spc="0" normalizeH="0" baseline="0" noProof="0" dirty="0">
              <a:ln>
                <a:noFill/>
              </a:ln>
              <a:solidFill>
                <a:srgbClr val="415064"/>
              </a:solidFill>
              <a:effectLst/>
              <a:uLnTx/>
              <a:uFillTx/>
            </a:endParaRPr>
          </a:p>
        </p:txBody>
      </p:sp>
      <p:sp>
        <p:nvSpPr>
          <p:cNvPr id="88" name="Rettangolo arrotondato 85">
            <a:extLst>
              <a:ext uri="{FF2B5EF4-FFF2-40B4-BE49-F238E27FC236}">
                <a16:creationId xmlns:a16="http://schemas.microsoft.com/office/drawing/2014/main" id="{3499C936-7CEB-4AA6-546C-BB3EFF397F59}"/>
              </a:ext>
            </a:extLst>
          </p:cNvPr>
          <p:cNvSpPr/>
          <p:nvPr/>
        </p:nvSpPr>
        <p:spPr>
          <a:xfrm>
            <a:off x="867221" y="5417333"/>
            <a:ext cx="5459042" cy="73489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Univers Condensed" panose="020B0506020202050204" pitchFamily="34" charset="0"/>
              </a:rPr>
              <a:t>Benefici Misure Africa, America Latina, </a:t>
            </a:r>
            <a:r>
              <a:rPr lang="it-IT" sz="1400" b="1" dirty="0">
                <a:solidFill>
                  <a:srgbClr val="005392"/>
                </a:solidFill>
                <a:latin typeface="Univers Condensed" panose="020B0506020202050204" pitchFamily="34" charset="0"/>
              </a:rPr>
              <a:t>India e Stati Uniti</a:t>
            </a:r>
            <a:endParaRPr kumimoji="0" lang="it-IT" sz="1400" b="1" i="0" u="none" strike="noStrike" kern="1200" cap="none" spc="0" normalizeH="0" baseline="0" noProof="0" dirty="0">
              <a:ln>
                <a:noFill/>
              </a:ln>
              <a:solidFill>
                <a:srgbClr val="005392"/>
              </a:solidFill>
              <a:effectLst/>
              <a:uLnTx/>
              <a:uFillTx/>
              <a:latin typeface="Univers Condensed" panose="020B0506020202050204" pitchFamily="34" charset="0"/>
            </a:endParaRPr>
          </a:p>
          <a:p>
            <a:pPr lvl="0" algn="ctr">
              <a:defRPr/>
            </a:pPr>
            <a:r>
              <a:rPr kumimoji="0" lang="it-IT" sz="1200" b="1" i="0" u="none" strike="noStrike" kern="1200" cap="none" spc="0" normalizeH="0" baseline="0" noProof="0" dirty="0">
                <a:ln>
                  <a:noFill/>
                </a:ln>
                <a:solidFill>
                  <a:srgbClr val="415364"/>
                </a:solidFill>
                <a:effectLst/>
                <a:uLnTx/>
                <a:uFillTx/>
                <a:latin typeface="Univers Condensed" panose="020B0506020202050204" pitchFamily="34" charset="0"/>
              </a:rPr>
              <a:t>plafond dedicati e fondo perduto, </a:t>
            </a:r>
            <a:r>
              <a:rPr kumimoji="0" lang="it-IT" sz="1200" b="0" i="0" u="none" strike="noStrike" kern="1200" cap="none" spc="0" normalizeH="0" baseline="0" noProof="0" dirty="0">
                <a:ln>
                  <a:noFill/>
                </a:ln>
                <a:solidFill>
                  <a:srgbClr val="415364"/>
                </a:solidFill>
                <a:effectLst/>
                <a:uLnTx/>
                <a:uFillTx/>
                <a:latin typeface="Univers Condensed" panose="020B0506020202050204" pitchFamily="34" charset="0"/>
              </a:rPr>
              <a:t>elevato fino al </a:t>
            </a:r>
            <a:r>
              <a:rPr kumimoji="0" lang="it-IT" sz="1200" b="1" i="0" u="none" strike="noStrike" kern="1200" cap="none" spc="0" normalizeH="0" baseline="0" noProof="0" dirty="0">
                <a:ln>
                  <a:noFill/>
                </a:ln>
                <a:solidFill>
                  <a:srgbClr val="415364"/>
                </a:solidFill>
                <a:effectLst/>
                <a:uLnTx/>
                <a:uFillTx/>
                <a:latin typeface="Univers Condensed" panose="020B0506020202050204" pitchFamily="34" charset="0"/>
              </a:rPr>
              <a:t>20% per imprese del Sud,</a:t>
            </a:r>
            <a:r>
              <a:rPr lang="it-IT" sz="1200" b="1" dirty="0">
                <a:solidFill>
                  <a:srgbClr val="415364"/>
                </a:solidFill>
                <a:latin typeface="Univers Condensed" panose="020B0506020202050204" pitchFamily="34" charset="0"/>
              </a:rPr>
              <a:t> start up e PMI innovative**</a:t>
            </a:r>
            <a:endParaRPr kumimoji="0" lang="it-IT" sz="1200" b="1" i="0" u="none" strike="noStrike" kern="1200" cap="none" spc="0" normalizeH="0" baseline="0" noProof="0" dirty="0">
              <a:ln>
                <a:noFill/>
              </a:ln>
              <a:solidFill>
                <a:srgbClr val="415364"/>
              </a:solidFill>
              <a:effectLst/>
              <a:uLnTx/>
              <a:uFillTx/>
              <a:latin typeface="Univers Condensed" panose="020B0506020202050204" pitchFamily="34" charset="0"/>
            </a:endParaRPr>
          </a:p>
        </p:txBody>
      </p:sp>
      <p:sp>
        <p:nvSpPr>
          <p:cNvPr id="22" name="Segnaposto testo 1">
            <a:extLst>
              <a:ext uri="{FF2B5EF4-FFF2-40B4-BE49-F238E27FC236}">
                <a16:creationId xmlns:a16="http://schemas.microsoft.com/office/drawing/2014/main" id="{B9E4B977-9CED-4A08-396B-D27071937603}"/>
              </a:ext>
            </a:extLst>
          </p:cNvPr>
          <p:cNvSpPr>
            <a:spLocks noGrp="1"/>
          </p:cNvSpPr>
          <p:nvPr>
            <p:ph type="body" idx="13"/>
          </p:nvPr>
        </p:nvSpPr>
        <p:spPr>
          <a:xfrm>
            <a:off x="334433" y="297158"/>
            <a:ext cx="11326344" cy="383116"/>
          </a:xfrm>
        </p:spPr>
        <p:txBody>
          <a:bodyPr/>
          <a:lstStyle/>
          <a:p>
            <a:r>
              <a:rPr lang="it-IT" dirty="0"/>
              <a:t>Finanziamenti agevolati</a:t>
            </a:r>
          </a:p>
        </p:txBody>
      </p:sp>
      <p:sp>
        <p:nvSpPr>
          <p:cNvPr id="23" name="Rettangolo 22">
            <a:extLst>
              <a:ext uri="{FF2B5EF4-FFF2-40B4-BE49-F238E27FC236}">
                <a16:creationId xmlns:a16="http://schemas.microsoft.com/office/drawing/2014/main" id="{ABB8F819-10C3-9575-4D8B-BD16EB7934C1}"/>
              </a:ext>
            </a:extLst>
          </p:cNvPr>
          <p:cNvSpPr/>
          <p:nvPr/>
        </p:nvSpPr>
        <p:spPr>
          <a:xfrm>
            <a:off x="334433" y="885225"/>
            <a:ext cx="11525058"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b="1" i="0" u="none" strike="noStrike" kern="1200" cap="none" spc="0" normalizeH="0" baseline="0" noProof="0" dirty="0">
                <a:ln>
                  <a:noFill/>
                </a:ln>
                <a:solidFill>
                  <a:srgbClr val="005392"/>
                </a:solidFill>
                <a:effectLst/>
                <a:uLnTx/>
                <a:uFillTx/>
                <a:latin typeface="Univers Condensed" panose="020B0506020202050204" pitchFamily="34" charset="0"/>
              </a:rPr>
              <a:t>Finanziamenti agevolati </a:t>
            </a:r>
            <a:r>
              <a:rPr kumimoji="0" lang="it-IT" b="0" i="0" u="none" strike="noStrike" kern="1200" cap="none" spc="0" normalizeH="0" baseline="0" noProof="0" dirty="0">
                <a:ln>
                  <a:noFill/>
                </a:ln>
                <a:solidFill>
                  <a:srgbClr val="415364"/>
                </a:solidFill>
                <a:effectLst/>
                <a:uLnTx/>
                <a:uFillTx/>
                <a:latin typeface="Univers Condensed" panose="020B0506020202050204" pitchFamily="34" charset="0"/>
              </a:rPr>
              <a:t>a valere sul </a:t>
            </a:r>
            <a:r>
              <a:rPr kumimoji="0" lang="it-IT" b="1" i="0" u="none" strike="noStrike" kern="1200" cap="none" spc="0" normalizeH="0" baseline="0" noProof="0" dirty="0">
                <a:ln>
                  <a:noFill/>
                </a:ln>
                <a:solidFill>
                  <a:srgbClr val="415364"/>
                </a:solidFill>
                <a:effectLst/>
                <a:uLnTx/>
                <a:uFillTx/>
                <a:latin typeface="Univers Condensed" panose="020B0506020202050204" pitchFamily="34" charset="0"/>
              </a:rPr>
              <a:t>Fondo 394* </a:t>
            </a:r>
            <a:r>
              <a:rPr kumimoji="0" lang="it-IT" b="0" i="0" u="none" strike="noStrike" kern="1200" cap="none" spc="0" normalizeH="0" baseline="0" noProof="0" dirty="0">
                <a:ln>
                  <a:noFill/>
                </a:ln>
                <a:solidFill>
                  <a:srgbClr val="415364"/>
                </a:solidFill>
                <a:effectLst/>
                <a:uLnTx/>
                <a:uFillTx/>
                <a:latin typeface="Univers Condensed" panose="020B0506020202050204" pitchFamily="34" charset="0"/>
              </a:rPr>
              <a:t>per la </a:t>
            </a:r>
            <a:r>
              <a:rPr kumimoji="0" lang="it-IT" b="1" i="0" u="none" strike="noStrike" kern="1200" cap="none" spc="0" normalizeH="0" baseline="0" noProof="0" dirty="0">
                <a:ln>
                  <a:noFill/>
                </a:ln>
                <a:solidFill>
                  <a:srgbClr val="415364"/>
                </a:solidFill>
                <a:effectLst/>
                <a:uLnTx/>
                <a:uFillTx/>
                <a:latin typeface="Univers Condensed" panose="020B0506020202050204" pitchFamily="34" charset="0"/>
              </a:rPr>
              <a:t>competitività internazionale </a:t>
            </a:r>
            <a:r>
              <a:rPr kumimoji="0" lang="it-IT" b="0" i="0" u="none" strike="noStrike" kern="1200" cap="none" spc="0" normalizeH="0" baseline="0" noProof="0" dirty="0">
                <a:ln>
                  <a:noFill/>
                </a:ln>
                <a:solidFill>
                  <a:srgbClr val="415364"/>
                </a:solidFill>
                <a:effectLst/>
                <a:uLnTx/>
                <a:uFillTx/>
                <a:latin typeface="Univers Condensed" panose="020B0506020202050204" pitchFamily="34" charset="0"/>
              </a:rPr>
              <a:t>delle imprese italia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b="0" i="0" u="none" strike="noStrike" kern="1200" cap="none" spc="0" normalizeH="0" baseline="0" noProof="0" dirty="0">
                <a:ln>
                  <a:noFill/>
                </a:ln>
                <a:solidFill>
                  <a:srgbClr val="415364"/>
                </a:solidFill>
                <a:effectLst/>
                <a:uLnTx/>
                <a:uFillTx/>
                <a:latin typeface="Univers Condensed" panose="020B0506020202050204" pitchFamily="34" charset="0"/>
              </a:rPr>
              <a:t>Focus su </a:t>
            </a:r>
            <a:r>
              <a:rPr kumimoji="0" lang="it-IT" b="1" i="0" u="none" strike="noStrike" kern="1200" cap="none" spc="0" normalizeH="0" baseline="0" noProof="0" dirty="0">
                <a:ln>
                  <a:noFill/>
                </a:ln>
                <a:solidFill>
                  <a:srgbClr val="005392"/>
                </a:solidFill>
                <a:effectLst/>
                <a:uLnTx/>
                <a:uFillTx/>
                <a:latin typeface="Univers Condensed" panose="020B0506020202050204" pitchFamily="34" charset="0"/>
              </a:rPr>
              <a:t>digitalizzazione, sostenibilità, crescita sui mercati esteri, competenze </a:t>
            </a:r>
            <a:r>
              <a:rPr kumimoji="0" lang="it-IT" b="0" i="0" u="none" strike="noStrike" kern="1200" cap="none" spc="0" normalizeH="0" baseline="0" noProof="0" dirty="0">
                <a:ln>
                  <a:noFill/>
                </a:ln>
                <a:solidFill>
                  <a:srgbClr val="415364"/>
                </a:solidFill>
                <a:effectLst/>
                <a:uLnTx/>
                <a:uFillTx/>
                <a:latin typeface="Univers Condensed" panose="020B0506020202050204" pitchFamily="34" charset="0"/>
              </a:rPr>
              <a:t>e</a:t>
            </a:r>
            <a:r>
              <a:rPr kumimoji="0" lang="it-IT" b="1" i="0" u="none" strike="noStrike" kern="1200" cap="none" spc="0" normalizeH="0" baseline="0" noProof="0" dirty="0">
                <a:ln>
                  <a:noFill/>
                </a:ln>
                <a:solidFill>
                  <a:srgbClr val="005392"/>
                </a:solidFill>
                <a:effectLst/>
                <a:uLnTx/>
                <a:uFillTx/>
                <a:latin typeface="Univers Condensed" panose="020B0506020202050204" pitchFamily="34" charset="0"/>
              </a:rPr>
              <a:t> filiere</a:t>
            </a:r>
          </a:p>
        </p:txBody>
      </p:sp>
      <p:sp>
        <p:nvSpPr>
          <p:cNvPr id="24" name="CasellaDiTesto 23">
            <a:extLst>
              <a:ext uri="{FF2B5EF4-FFF2-40B4-BE49-F238E27FC236}">
                <a16:creationId xmlns:a16="http://schemas.microsoft.com/office/drawing/2014/main" id="{D7F03E9C-A3AA-1153-D973-CCAB8C7EF815}"/>
              </a:ext>
            </a:extLst>
          </p:cNvPr>
          <p:cNvSpPr txBox="1"/>
          <p:nvPr/>
        </p:nvSpPr>
        <p:spPr>
          <a:xfrm>
            <a:off x="673658" y="6237697"/>
            <a:ext cx="4581714"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it-IT" sz="900" b="0" i="1" u="none" strike="noStrike" kern="1200" cap="none" spc="0" normalizeH="0" baseline="0" noProof="0" dirty="0">
                <a:ln>
                  <a:noFill/>
                </a:ln>
                <a:solidFill>
                  <a:srgbClr val="415364"/>
                </a:solidFill>
                <a:effectLst/>
                <a:uLnTx/>
                <a:uFillTx/>
                <a:latin typeface="Univers Condensed" panose="020B0506020202050204" pitchFamily="34" charset="0"/>
              </a:rPr>
              <a:t>* Risorse a valere su fondi pubblici gestiti da SIMEST per conto del MAECI</a:t>
            </a:r>
          </a:p>
        </p:txBody>
      </p:sp>
      <p:pic>
        <p:nvPicPr>
          <p:cNvPr id="15" name="Immagine 14" descr="Immagine che contiene testo, schermata, logo, simbolo&#10;&#10;Descrizione generata automaticamente">
            <a:extLst>
              <a:ext uri="{FF2B5EF4-FFF2-40B4-BE49-F238E27FC236}">
                <a16:creationId xmlns:a16="http://schemas.microsoft.com/office/drawing/2014/main" id="{030B6D0F-513A-FD54-22A6-31356DE679D0}"/>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11044104" y="105942"/>
            <a:ext cx="959177" cy="679417"/>
          </a:xfrm>
          <a:prstGeom prst="rect">
            <a:avLst/>
          </a:prstGeom>
        </p:spPr>
      </p:pic>
      <p:sp>
        <p:nvSpPr>
          <p:cNvPr id="87" name="Rettangolo arrotondato 85">
            <a:extLst>
              <a:ext uri="{FF2B5EF4-FFF2-40B4-BE49-F238E27FC236}">
                <a16:creationId xmlns:a16="http://schemas.microsoft.com/office/drawing/2014/main" id="{1DF80ABF-57EB-BEF8-7FC6-AFDF9CE8B227}"/>
              </a:ext>
            </a:extLst>
          </p:cNvPr>
          <p:cNvSpPr/>
          <p:nvPr/>
        </p:nvSpPr>
        <p:spPr>
          <a:xfrm>
            <a:off x="3722998" y="3755646"/>
            <a:ext cx="160176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Univers Condensed" panose="020B0506020202050204" pitchFamily="34" charset="0"/>
              </a:rPr>
              <a:t>Fond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Univers Condensed" panose="020B0506020202050204" pitchFamily="34" charset="0"/>
              </a:rPr>
              <a:t>Perduto 10%</a:t>
            </a:r>
          </a:p>
        </p:txBody>
      </p:sp>
      <p:sp>
        <p:nvSpPr>
          <p:cNvPr id="89" name="Rettangolo arrotondato 85">
            <a:extLst>
              <a:ext uri="{FF2B5EF4-FFF2-40B4-BE49-F238E27FC236}">
                <a16:creationId xmlns:a16="http://schemas.microsoft.com/office/drawing/2014/main" id="{CCC4C521-1E71-6502-C291-7118FDD4F2B3}"/>
              </a:ext>
            </a:extLst>
          </p:cNvPr>
          <p:cNvSpPr/>
          <p:nvPr/>
        </p:nvSpPr>
        <p:spPr>
          <a:xfrm>
            <a:off x="1262097" y="3794528"/>
            <a:ext cx="1961035"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Univers Condensed" panose="020B0506020202050204" pitchFamily="34" charset="0"/>
              </a:rPr>
              <a:t>Tasso Agevolato ~0,3% </a:t>
            </a:r>
          </a:p>
        </p:txBody>
      </p:sp>
      <p:sp>
        <p:nvSpPr>
          <p:cNvPr id="7" name="Rettangolo arrotondato 85">
            <a:extLst>
              <a:ext uri="{FF2B5EF4-FFF2-40B4-BE49-F238E27FC236}">
                <a16:creationId xmlns:a16="http://schemas.microsoft.com/office/drawing/2014/main" id="{1EF956F2-4BC4-B1D0-ACD8-299712854A95}"/>
              </a:ext>
            </a:extLst>
          </p:cNvPr>
          <p:cNvSpPr/>
          <p:nvPr/>
        </p:nvSpPr>
        <p:spPr>
          <a:xfrm>
            <a:off x="1276770" y="4432017"/>
            <a:ext cx="1851290"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Univers Condensed" panose="020B0506020202050204" pitchFamily="34" charset="0"/>
              </a:rPr>
              <a:t>con scelta in base a capienza de </a:t>
            </a:r>
            <a:r>
              <a:rPr kumimoji="0" lang="it-IT" sz="1200" b="0" i="0" u="none" strike="noStrike" kern="1200" cap="none" spc="0" normalizeH="0" baseline="0" noProof="0" dirty="0" err="1">
                <a:ln>
                  <a:noFill/>
                </a:ln>
                <a:solidFill>
                  <a:srgbClr val="415364"/>
                </a:solidFill>
                <a:effectLst/>
                <a:uLnTx/>
                <a:uFillTx/>
                <a:latin typeface="Univers Condensed" panose="020B0506020202050204" pitchFamily="34" charset="0"/>
              </a:rPr>
              <a:t>minimis</a:t>
            </a:r>
            <a:endParaRPr kumimoji="0" lang="it-IT" sz="1200" b="0" i="0" u="none" strike="noStrike" kern="1200" cap="none" spc="0" normalizeH="0" baseline="0" noProof="0" dirty="0">
              <a:ln>
                <a:noFill/>
              </a:ln>
              <a:solidFill>
                <a:srgbClr val="415364"/>
              </a:solidFill>
              <a:effectLst/>
              <a:uLnTx/>
              <a:uFillTx/>
              <a:latin typeface="Univers Condensed" panose="020B0506020202050204" pitchFamily="34" charset="0"/>
            </a:endParaRPr>
          </a:p>
        </p:txBody>
      </p:sp>
      <p:sp>
        <p:nvSpPr>
          <p:cNvPr id="8" name="Rettangolo arrotondato 85">
            <a:extLst>
              <a:ext uri="{FF2B5EF4-FFF2-40B4-BE49-F238E27FC236}">
                <a16:creationId xmlns:a16="http://schemas.microsoft.com/office/drawing/2014/main" id="{CB1DC6A9-E89D-4E63-E672-88B1F1AB0252}"/>
              </a:ext>
            </a:extLst>
          </p:cNvPr>
          <p:cNvSpPr/>
          <p:nvPr/>
        </p:nvSpPr>
        <p:spPr>
          <a:xfrm>
            <a:off x="3039420" y="4590806"/>
            <a:ext cx="2791484"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Univers Condensed" panose="020B0506020202050204" pitchFamily="34" charset="0"/>
              </a:rPr>
              <a:t>per PMI del Sud, giovanili, femminili, sostenibilità, </a:t>
            </a:r>
            <a:r>
              <a:rPr kumimoji="0" lang="it-IT" sz="1200" b="1" i="0" u="none" strike="noStrike" kern="1200" cap="none" spc="0" normalizeH="0" baseline="0" noProof="0" dirty="0">
                <a:ln>
                  <a:noFill/>
                </a:ln>
                <a:solidFill>
                  <a:srgbClr val="415364"/>
                </a:solidFill>
                <a:effectLst/>
                <a:uLnTx/>
                <a:uFillTx/>
                <a:latin typeface="Univers Condensed" panose="020B0506020202050204" pitchFamily="34" charset="0"/>
              </a:rPr>
              <a:t>mercati strategici </a:t>
            </a:r>
            <a:r>
              <a:rPr kumimoji="0" lang="it-IT" sz="1130" b="1" i="0" u="none" strike="noStrike" kern="1200" cap="none" spc="0" normalizeH="0" baseline="0" noProof="0" dirty="0">
                <a:ln>
                  <a:noFill/>
                </a:ln>
                <a:solidFill>
                  <a:srgbClr val="415364"/>
                </a:solidFill>
                <a:effectLst/>
                <a:uLnTx/>
                <a:uFillTx/>
                <a:latin typeface="Univers Condensed" panose="020B0506020202050204" pitchFamily="34" charset="0"/>
              </a:rPr>
              <a:t>(Balcani, Africa, America Latina, India, </a:t>
            </a:r>
            <a:r>
              <a:rPr kumimoji="0" lang="it-IT" sz="1130" b="1" i="0" u="none" strike="noStrike" kern="1200" cap="none" spc="0" normalizeH="0" baseline="0" noProof="0" dirty="0">
                <a:ln>
                  <a:noFill/>
                </a:ln>
                <a:solidFill>
                  <a:srgbClr val="00B050"/>
                </a:solidFill>
                <a:effectLst/>
                <a:uLnTx/>
                <a:uFillTx/>
                <a:latin typeface="Univers Condensed" panose="020B0506020202050204" pitchFamily="34" charset="0"/>
              </a:rPr>
              <a:t>USA</a:t>
            </a:r>
            <a:r>
              <a:rPr kumimoji="0" lang="it-IT" sz="1130" b="1" i="0" u="none" strike="noStrike" kern="1200" cap="none" spc="0" normalizeH="0" baseline="0" noProof="0" dirty="0">
                <a:ln>
                  <a:noFill/>
                </a:ln>
                <a:solidFill>
                  <a:srgbClr val="415364"/>
                </a:solidFill>
                <a:effectLst/>
                <a:uLnTx/>
                <a:uFillTx/>
                <a:latin typeface="Univers Condensed" panose="020B0506020202050204" pitchFamily="34" charset="0"/>
              </a:rPr>
              <a:t>)</a:t>
            </a:r>
          </a:p>
        </p:txBody>
      </p:sp>
      <p:sp>
        <p:nvSpPr>
          <p:cNvPr id="17" name="Rettangolo arrotondato 85">
            <a:extLst>
              <a:ext uri="{FF2B5EF4-FFF2-40B4-BE49-F238E27FC236}">
                <a16:creationId xmlns:a16="http://schemas.microsoft.com/office/drawing/2014/main" id="{30AB8018-3648-DE30-9AD4-63DDBA0E3276}"/>
              </a:ext>
            </a:extLst>
          </p:cNvPr>
          <p:cNvSpPr/>
          <p:nvPr/>
        </p:nvSpPr>
        <p:spPr>
          <a:xfrm>
            <a:off x="5726428" y="3832168"/>
            <a:ext cx="1062718" cy="791797"/>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Univers Condensed" panose="020B0506020202050204" pitchFamily="34" charset="0"/>
              </a:rPr>
              <a:t>fino a 6 anni</a:t>
            </a:r>
          </a:p>
        </p:txBody>
      </p:sp>
      <p:sp>
        <p:nvSpPr>
          <p:cNvPr id="21" name="Rettangolo arrotondato 85">
            <a:extLst>
              <a:ext uri="{FF2B5EF4-FFF2-40B4-BE49-F238E27FC236}">
                <a16:creationId xmlns:a16="http://schemas.microsoft.com/office/drawing/2014/main" id="{726F8906-ED67-0B18-3253-F8A2256E284D}"/>
              </a:ext>
            </a:extLst>
          </p:cNvPr>
          <p:cNvSpPr/>
          <p:nvPr/>
        </p:nvSpPr>
        <p:spPr>
          <a:xfrm>
            <a:off x="5647192" y="4406402"/>
            <a:ext cx="1251851"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Univers Condensed" panose="020B0506020202050204" pitchFamily="34" charset="0"/>
              </a:rPr>
              <a:t>durata finanziamenti</a:t>
            </a:r>
            <a:endParaRPr kumimoji="0" lang="it-IT" sz="1600" b="0" i="0" u="none" strike="noStrike" kern="1200" cap="none" spc="0" normalizeH="0" baseline="0" noProof="0" dirty="0">
              <a:ln>
                <a:noFill/>
              </a:ln>
              <a:solidFill>
                <a:srgbClr val="415364"/>
              </a:solidFill>
              <a:effectLst/>
              <a:uLnTx/>
              <a:uFillTx/>
              <a:latin typeface="Univers Condensed" panose="020B0506020202050204" pitchFamily="34" charset="0"/>
            </a:endParaRPr>
          </a:p>
        </p:txBody>
      </p:sp>
      <p:sp>
        <p:nvSpPr>
          <p:cNvPr id="37" name="Rettangolo arrotondato 85">
            <a:extLst>
              <a:ext uri="{FF2B5EF4-FFF2-40B4-BE49-F238E27FC236}">
                <a16:creationId xmlns:a16="http://schemas.microsoft.com/office/drawing/2014/main" id="{A79AAF41-CC09-FADA-B9F2-AD0ABE7C65F6}"/>
              </a:ext>
            </a:extLst>
          </p:cNvPr>
          <p:cNvSpPr/>
          <p:nvPr/>
        </p:nvSpPr>
        <p:spPr>
          <a:xfrm>
            <a:off x="8756469" y="3768914"/>
            <a:ext cx="1601761"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Univers Condensed" panose="020B0506020202050204" pitchFamily="34" charset="0"/>
              </a:rPr>
              <a:t>25% in anticipo</a:t>
            </a:r>
          </a:p>
        </p:txBody>
      </p:sp>
      <p:sp>
        <p:nvSpPr>
          <p:cNvPr id="41" name="Rettangolo arrotondato 85">
            <a:extLst>
              <a:ext uri="{FF2B5EF4-FFF2-40B4-BE49-F238E27FC236}">
                <a16:creationId xmlns:a16="http://schemas.microsoft.com/office/drawing/2014/main" id="{9A8C20E2-2C57-F0E4-1703-0C65AC3DF78A}"/>
              </a:ext>
            </a:extLst>
          </p:cNvPr>
          <p:cNvSpPr/>
          <p:nvPr/>
        </p:nvSpPr>
        <p:spPr>
          <a:xfrm>
            <a:off x="8651217" y="4406403"/>
            <a:ext cx="1878571"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Univers Condensed" panose="020B0506020202050204" pitchFamily="34" charset="0"/>
              </a:rPr>
              <a:t>ulteriori erogazioni a saldo del rendicontato</a:t>
            </a:r>
            <a:endParaRPr kumimoji="0" lang="it-IT" sz="1600" b="0" i="0" u="none" strike="noStrike" kern="1200" cap="none" spc="0" normalizeH="0" baseline="0" noProof="0" dirty="0">
              <a:ln>
                <a:noFill/>
              </a:ln>
              <a:solidFill>
                <a:srgbClr val="415364"/>
              </a:solidFill>
              <a:effectLst/>
              <a:uLnTx/>
              <a:uFillTx/>
              <a:latin typeface="Univers Condensed" panose="020B0506020202050204" pitchFamily="34" charset="0"/>
            </a:endParaRPr>
          </a:p>
        </p:txBody>
      </p:sp>
      <p:sp>
        <p:nvSpPr>
          <p:cNvPr id="42" name="Rettangolo arrotondato 85">
            <a:extLst>
              <a:ext uri="{FF2B5EF4-FFF2-40B4-BE49-F238E27FC236}">
                <a16:creationId xmlns:a16="http://schemas.microsoft.com/office/drawing/2014/main" id="{2B47260B-61CC-9D3E-B649-9ED073D13D8C}"/>
              </a:ext>
            </a:extLst>
          </p:cNvPr>
          <p:cNvSpPr/>
          <p:nvPr/>
        </p:nvSpPr>
        <p:spPr>
          <a:xfrm>
            <a:off x="7129231" y="3768914"/>
            <a:ext cx="138332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Univers Condensed" panose="020B0506020202050204" pitchFamily="34" charset="0"/>
              </a:rPr>
              <a:t>fino a 5 €mln</a:t>
            </a:r>
          </a:p>
        </p:txBody>
      </p:sp>
      <p:sp>
        <p:nvSpPr>
          <p:cNvPr id="43" name="Rettangolo arrotondato 85">
            <a:extLst>
              <a:ext uri="{FF2B5EF4-FFF2-40B4-BE49-F238E27FC236}">
                <a16:creationId xmlns:a16="http://schemas.microsoft.com/office/drawing/2014/main" id="{32D515B5-AB31-E0ED-DDA9-045E0512DFA4}"/>
              </a:ext>
            </a:extLst>
          </p:cNvPr>
          <p:cNvSpPr/>
          <p:nvPr/>
        </p:nvSpPr>
        <p:spPr>
          <a:xfrm>
            <a:off x="6953681" y="4406402"/>
            <a:ext cx="1740262"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Univers Condensed" panose="020B0506020202050204" pitchFamily="34" charset="0"/>
              </a:rPr>
              <a:t>i</a:t>
            </a:r>
            <a:r>
              <a:rPr kumimoji="0" lang="it-IT" sz="1200" b="0" i="0" u="none" strike="noStrike" kern="1200" cap="none" spc="0" normalizeH="0" baseline="0" noProof="0" dirty="0" err="1">
                <a:ln>
                  <a:noFill/>
                </a:ln>
                <a:solidFill>
                  <a:srgbClr val="415364"/>
                </a:solidFill>
                <a:effectLst/>
                <a:uLnTx/>
                <a:uFillTx/>
                <a:latin typeface="Univers Condensed" panose="020B0506020202050204" pitchFamily="34" charset="0"/>
              </a:rPr>
              <a:t>mporti</a:t>
            </a:r>
            <a:r>
              <a:rPr kumimoji="0" lang="it-IT" sz="1200" b="0" i="0" u="none" strike="noStrike" kern="1200" cap="none" spc="0" normalizeH="0" baseline="0" noProof="0" dirty="0">
                <a:ln>
                  <a:noFill/>
                </a:ln>
                <a:solidFill>
                  <a:srgbClr val="415364"/>
                </a:solidFill>
                <a:effectLst/>
                <a:uLnTx/>
                <a:uFillTx/>
                <a:latin typeface="Univers Condensed" panose="020B0506020202050204" pitchFamily="34" charset="0"/>
              </a:rPr>
              <a:t> massimi in base allo strumento</a:t>
            </a:r>
            <a:endParaRPr kumimoji="0" lang="it-IT" sz="1600" b="1" i="0" u="none" strike="noStrike" kern="1200" cap="none" spc="0" normalizeH="0" baseline="0" noProof="0" dirty="0">
              <a:ln>
                <a:noFill/>
              </a:ln>
              <a:solidFill>
                <a:srgbClr val="415364"/>
              </a:solidFill>
              <a:effectLst/>
              <a:uLnTx/>
              <a:uFillTx/>
              <a:latin typeface="Univers Condensed" panose="020B0506020202050204" pitchFamily="34" charset="0"/>
            </a:endParaRPr>
          </a:p>
        </p:txBody>
      </p:sp>
      <p:sp>
        <p:nvSpPr>
          <p:cNvPr id="19" name="CasellaDiTesto 18">
            <a:extLst>
              <a:ext uri="{FF2B5EF4-FFF2-40B4-BE49-F238E27FC236}">
                <a16:creationId xmlns:a16="http://schemas.microsoft.com/office/drawing/2014/main" id="{9E5987C9-91E8-0C9A-7871-BD4802472A5F}"/>
              </a:ext>
            </a:extLst>
          </p:cNvPr>
          <p:cNvSpPr txBox="1"/>
          <p:nvPr/>
        </p:nvSpPr>
        <p:spPr>
          <a:xfrm>
            <a:off x="6712542" y="5417333"/>
            <a:ext cx="5215210" cy="67710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Univers Condensed" panose="020B0506020202050204" pitchFamily="34" charset="0"/>
              </a:rPr>
              <a:t>Misure dedicate per eventi straordinari</a:t>
            </a:r>
            <a:endParaRPr lang="it-IT" sz="1400" b="1" dirty="0">
              <a:solidFill>
                <a:srgbClr val="415364"/>
              </a:solidFill>
              <a:latin typeface="Univers Condensed" panose="020B0506020202050204" pitchFamily="34" charset="0"/>
            </a:endParaRPr>
          </a:p>
          <a:p>
            <a:pPr lvl="0" algn="ctr">
              <a:defRPr/>
            </a:pPr>
            <a:r>
              <a:rPr lang="it-IT" sz="1200" dirty="0">
                <a:solidFill>
                  <a:srgbClr val="415364"/>
                </a:solidFill>
                <a:latin typeface="Univers Condensed" panose="020B0506020202050204" pitchFamily="34" charset="0"/>
              </a:rPr>
              <a:t>per le imprese colpite dalle alluvioni 2023 e </a:t>
            </a:r>
            <a:r>
              <a:rPr kumimoji="0" lang="it-IT" sz="1200" b="0" i="0" u="none" strike="noStrike" kern="1200" cap="none" spc="0" normalizeH="0" baseline="0" noProof="0" dirty="0">
                <a:ln>
                  <a:noFill/>
                </a:ln>
                <a:solidFill>
                  <a:srgbClr val="415364"/>
                </a:solidFill>
                <a:effectLst/>
                <a:uLnTx/>
                <a:uFillTx/>
                <a:latin typeface="Univers Condensed" panose="020B0506020202050204" pitchFamily="34" charset="0"/>
              </a:rPr>
              <a:t>per le </a:t>
            </a:r>
            <a:r>
              <a:rPr kumimoji="0" lang="it-IT" sz="1200" b="1" i="0" u="none" strike="noStrike" kern="1200" cap="none" spc="0" normalizeH="0" baseline="0" noProof="0" dirty="0">
                <a:ln>
                  <a:noFill/>
                </a:ln>
                <a:solidFill>
                  <a:srgbClr val="415364"/>
                </a:solidFill>
                <a:effectLst/>
                <a:uLnTx/>
                <a:uFillTx/>
                <a:latin typeface="Univers Condensed" panose="020B0506020202050204" pitchFamily="34" charset="0"/>
              </a:rPr>
              <a:t>imprese energivore o che hanno intrapreso percorsi di efficientamento energetico</a:t>
            </a:r>
            <a:endParaRPr kumimoji="0" lang="it-IT" sz="1200" b="0" i="0" u="none" strike="noStrike" kern="1200" cap="none" spc="0" normalizeH="0" baseline="0" noProof="0" dirty="0">
              <a:ln>
                <a:noFill/>
              </a:ln>
              <a:solidFill>
                <a:srgbClr val="415364"/>
              </a:solidFill>
              <a:effectLst/>
              <a:uLnTx/>
              <a:uFillTx/>
              <a:latin typeface="Univers Condensed" panose="020B0506020202050204" pitchFamily="34" charset="0"/>
            </a:endParaRPr>
          </a:p>
        </p:txBody>
      </p:sp>
      <p:sp>
        <p:nvSpPr>
          <p:cNvPr id="10" name="Rettangolo arrotondato 85">
            <a:extLst>
              <a:ext uri="{FF2B5EF4-FFF2-40B4-BE49-F238E27FC236}">
                <a16:creationId xmlns:a16="http://schemas.microsoft.com/office/drawing/2014/main" id="{791565ED-EFEE-C763-8038-8C95861D5484}"/>
              </a:ext>
            </a:extLst>
          </p:cNvPr>
          <p:cNvSpPr/>
          <p:nvPr/>
        </p:nvSpPr>
        <p:spPr>
          <a:xfrm>
            <a:off x="10344150" y="3755646"/>
            <a:ext cx="1601761"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600" b="1" i="0" u="none" strike="noStrike" kern="1200" cap="none" spc="0" normalizeH="0" baseline="0" noProof="0" dirty="0" err="1">
                <a:ln>
                  <a:noFill/>
                </a:ln>
                <a:solidFill>
                  <a:srgbClr val="005392"/>
                </a:solidFill>
                <a:effectLst/>
                <a:uLnTx/>
                <a:uFillTx/>
                <a:latin typeface="Univers Condensed" panose="020B0506020202050204" pitchFamily="34" charset="0"/>
              </a:rPr>
              <a:t>Onboarding</a:t>
            </a:r>
            <a:r>
              <a:rPr kumimoji="0" lang="it-IT" sz="1600" b="1" i="0" u="none" strike="noStrike" kern="1200" cap="none" spc="0" normalizeH="0" baseline="0" noProof="0" dirty="0">
                <a:ln>
                  <a:noFill/>
                </a:ln>
                <a:solidFill>
                  <a:srgbClr val="005392"/>
                </a:solidFill>
                <a:effectLst/>
                <a:uLnTx/>
                <a:uFillTx/>
                <a:latin typeface="Univers Condensed" panose="020B0506020202050204" pitchFamily="34" charset="0"/>
              </a:rPr>
              <a:t> digitalizzato</a:t>
            </a:r>
          </a:p>
        </p:txBody>
      </p:sp>
      <p:sp>
        <p:nvSpPr>
          <p:cNvPr id="20" name="Rettangolo arrotondato 85">
            <a:extLst>
              <a:ext uri="{FF2B5EF4-FFF2-40B4-BE49-F238E27FC236}">
                <a16:creationId xmlns:a16="http://schemas.microsoft.com/office/drawing/2014/main" id="{058E4A45-C2EC-A9EA-E1CA-C19D7727CA52}"/>
              </a:ext>
            </a:extLst>
          </p:cNvPr>
          <p:cNvSpPr/>
          <p:nvPr/>
        </p:nvSpPr>
        <p:spPr>
          <a:xfrm>
            <a:off x="10218010" y="4352832"/>
            <a:ext cx="1878571"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Univers Condensed" panose="020B0506020202050204" pitchFamily="34" charset="0"/>
              </a:rPr>
              <a:t>simest.it</a:t>
            </a:r>
            <a:endParaRPr kumimoji="0" lang="it-IT" sz="1600" b="0" i="0" u="none" strike="noStrike" kern="1200" cap="none" spc="0" normalizeH="0" baseline="0" noProof="0" dirty="0">
              <a:ln>
                <a:noFill/>
              </a:ln>
              <a:solidFill>
                <a:srgbClr val="415364"/>
              </a:solidFill>
              <a:effectLst/>
              <a:uLnTx/>
              <a:uFillTx/>
              <a:latin typeface="Univers Condensed" panose="020B0506020202050204" pitchFamily="34" charset="0"/>
            </a:endParaRPr>
          </a:p>
        </p:txBody>
      </p:sp>
      <p:pic>
        <p:nvPicPr>
          <p:cNvPr id="46" name="Elemento grafico 45" descr="Globo terrestre: Africa ed Europa con riempimento a tinta unita">
            <a:extLst>
              <a:ext uri="{FF2B5EF4-FFF2-40B4-BE49-F238E27FC236}">
                <a16:creationId xmlns:a16="http://schemas.microsoft.com/office/drawing/2014/main" id="{A89BE80F-863E-38A1-5265-A4D61ACC350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50030" y="5454155"/>
            <a:ext cx="548206" cy="548206"/>
          </a:xfrm>
          <a:prstGeom prst="rect">
            <a:avLst/>
          </a:prstGeom>
        </p:spPr>
      </p:pic>
      <p:pic>
        <p:nvPicPr>
          <p:cNvPr id="48" name="Elemento grafico 47" descr="Rete con riempimento a tinta unita">
            <a:extLst>
              <a:ext uri="{FF2B5EF4-FFF2-40B4-BE49-F238E27FC236}">
                <a16:creationId xmlns:a16="http://schemas.microsoft.com/office/drawing/2014/main" id="{96C4879D-F61A-2B17-B0D8-D938313D2D3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394359" y="5480059"/>
            <a:ext cx="492716" cy="492716"/>
          </a:xfrm>
          <a:prstGeom prst="rect">
            <a:avLst/>
          </a:prstGeom>
        </p:spPr>
      </p:pic>
      <p:sp>
        <p:nvSpPr>
          <p:cNvPr id="2" name="CasellaDiTesto 1">
            <a:extLst>
              <a:ext uri="{FF2B5EF4-FFF2-40B4-BE49-F238E27FC236}">
                <a16:creationId xmlns:a16="http://schemas.microsoft.com/office/drawing/2014/main" id="{2E4F8FB7-79A3-ABFC-3B7C-3F4F8F2BC54C}"/>
              </a:ext>
            </a:extLst>
          </p:cNvPr>
          <p:cNvSpPr txBox="1"/>
          <p:nvPr/>
        </p:nvSpPr>
        <p:spPr>
          <a:xfrm>
            <a:off x="66675" y="4035986"/>
            <a:ext cx="1152983" cy="1017796"/>
          </a:xfrm>
          <a:prstGeom prst="rect">
            <a:avLst/>
          </a:prstGeom>
          <a:noFill/>
        </p:spPr>
        <p:txBody>
          <a:bodyPr wrap="square" anchor="ctr" anchorCtr="0">
            <a:noAutofit/>
          </a:bodyPr>
          <a:lstStyle>
            <a:defPPr>
              <a:defRPr lang="it-IT"/>
            </a:defPPr>
            <a:lvl1pPr marR="0" lvl="0" indent="0" algn="ctr" fontAlgn="auto">
              <a:lnSpc>
                <a:spcPct val="100000"/>
              </a:lnSpc>
              <a:spcBef>
                <a:spcPts val="0"/>
              </a:spcBef>
              <a:spcAft>
                <a:spcPts val="0"/>
              </a:spcAft>
              <a:buClrTx/>
              <a:buSzTx/>
              <a:buFontTx/>
              <a:buNone/>
              <a:tabLst/>
              <a:defRPr kumimoji="0" sz="1600" b="1" i="0" u="none" strike="noStrike" cap="none" spc="0" normalizeH="0" baseline="0">
                <a:ln>
                  <a:noFill/>
                </a:ln>
                <a:solidFill>
                  <a:srgbClr val="415364"/>
                </a:solidFill>
                <a:effectLst/>
                <a:uLnTx/>
                <a:uFillTx/>
                <a:latin typeface="Arial" panose="020B0604020202020204"/>
              </a:defRPr>
            </a:lvl1pPr>
          </a:lstStyle>
          <a:p>
            <a:r>
              <a:rPr lang="it-IT" dirty="0">
                <a:solidFill>
                  <a:schemeClr val="accent2"/>
                </a:solidFill>
                <a:latin typeface="Univers Condensed" panose="020B0506020202050204" pitchFamily="34" charset="0"/>
              </a:rPr>
              <a:t>BENEFICI</a:t>
            </a:r>
          </a:p>
        </p:txBody>
      </p:sp>
      <p:pic>
        <p:nvPicPr>
          <p:cNvPr id="3" name="Elemento grafico 2" descr="Accento circonflesso verso destra con riempimento a tinta unita">
            <a:extLst>
              <a:ext uri="{FF2B5EF4-FFF2-40B4-BE49-F238E27FC236}">
                <a16:creationId xmlns:a16="http://schemas.microsoft.com/office/drawing/2014/main" id="{518A7A4C-48E6-AD45-EB40-76DE9BBC3702}"/>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022399" y="4194043"/>
            <a:ext cx="519453" cy="712189"/>
          </a:xfrm>
          <a:prstGeom prst="rect">
            <a:avLst/>
          </a:prstGeom>
        </p:spPr>
      </p:pic>
      <p:sp>
        <p:nvSpPr>
          <p:cNvPr id="35" name="Rettangolo con angoli arrotondati 34">
            <a:extLst>
              <a:ext uri="{FF2B5EF4-FFF2-40B4-BE49-F238E27FC236}">
                <a16:creationId xmlns:a16="http://schemas.microsoft.com/office/drawing/2014/main" id="{3646393B-D114-052B-248C-D8E0766F1372}"/>
              </a:ext>
            </a:extLst>
          </p:cNvPr>
          <p:cNvSpPr/>
          <p:nvPr/>
        </p:nvSpPr>
        <p:spPr>
          <a:xfrm>
            <a:off x="462227" y="1638177"/>
            <a:ext cx="4314902" cy="266065"/>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050" b="1" dirty="0">
                <a:solidFill>
                  <a:srgbClr val="00B050"/>
                </a:solidFill>
                <a:latin typeface="Univers Condensed" panose="020B0506020202050204" pitchFamily="34" charset="0"/>
              </a:rPr>
              <a:t>Soluzioni per gli investimenti</a:t>
            </a:r>
            <a:endParaRPr kumimoji="0" lang="it-IT" sz="1050" b="1" i="0" u="none" strike="noStrike" kern="1200" cap="none" spc="0" normalizeH="0" baseline="0" noProof="0" dirty="0">
              <a:ln>
                <a:noFill/>
              </a:ln>
              <a:solidFill>
                <a:srgbClr val="00B050"/>
              </a:solidFill>
              <a:effectLst/>
              <a:uLnTx/>
              <a:uFillTx/>
              <a:latin typeface="Univers Condensed" panose="020B0506020202050204" pitchFamily="34" charset="0"/>
            </a:endParaRPr>
          </a:p>
        </p:txBody>
      </p:sp>
      <p:grpSp>
        <p:nvGrpSpPr>
          <p:cNvPr id="45" name="Gruppo 44">
            <a:extLst>
              <a:ext uri="{FF2B5EF4-FFF2-40B4-BE49-F238E27FC236}">
                <a16:creationId xmlns:a16="http://schemas.microsoft.com/office/drawing/2014/main" id="{A857878A-FB9A-D60C-AD58-FB6BDF03CBE5}"/>
              </a:ext>
            </a:extLst>
          </p:cNvPr>
          <p:cNvGrpSpPr/>
          <p:nvPr/>
        </p:nvGrpSpPr>
        <p:grpSpPr>
          <a:xfrm>
            <a:off x="2619678" y="1970959"/>
            <a:ext cx="1140326" cy="1656000"/>
            <a:chOff x="10186888" y="1837756"/>
            <a:chExt cx="1140326" cy="1656000"/>
          </a:xfrm>
          <a:effectLst>
            <a:reflection blurRad="6350" stA="52000" endA="300" endPos="35000" dir="5400000" sy="-100000" algn="bl" rotWithShape="0"/>
          </a:effectLst>
        </p:grpSpPr>
        <p:sp>
          <p:nvSpPr>
            <p:cNvPr id="47" name="Rettangolo con angoli arrotondati 46">
              <a:extLst>
                <a:ext uri="{FF2B5EF4-FFF2-40B4-BE49-F238E27FC236}">
                  <a16:creationId xmlns:a16="http://schemas.microsoft.com/office/drawing/2014/main" id="{9E37AEA4-4C64-BDD3-A7D3-01009BA7E548}"/>
                </a:ext>
              </a:extLst>
            </p:cNvPr>
            <p:cNvSpPr/>
            <p:nvPr/>
          </p:nvSpPr>
          <p:spPr>
            <a:xfrm>
              <a:off x="10186888" y="1837756"/>
              <a:ext cx="1140326" cy="1656000"/>
            </a:xfrm>
            <a:prstGeom prst="roundRect">
              <a:avLst>
                <a:gd name="adj" fmla="val 12849"/>
              </a:avLst>
            </a:prstGeom>
            <a:blipFill>
              <a:blip r:embed="rId16" cstate="screen">
                <a:extLst>
                  <a:ext uri="{28A0092B-C50C-407E-A947-70E740481C1C}">
                    <a14:useLocalDpi xmlns:a14="http://schemas.microsoft.com/office/drawing/2010/main" val="0"/>
                  </a:ext>
                </a:extLst>
              </a:blip>
              <a:stretch>
                <a:fillRect/>
              </a:stretch>
            </a:blip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latin typeface="Univers Condensed" panose="020B0506020202050204" pitchFamily="34" charset="0"/>
              </a:endParaRPr>
            </a:p>
          </p:txBody>
        </p:sp>
        <p:sp>
          <p:nvSpPr>
            <p:cNvPr id="49" name="Rettangolo arrotondato 85">
              <a:extLst>
                <a:ext uri="{FF2B5EF4-FFF2-40B4-BE49-F238E27FC236}">
                  <a16:creationId xmlns:a16="http://schemas.microsoft.com/office/drawing/2014/main" id="{81AF2CB3-03F5-F96D-B4A6-18421B74F854}"/>
                </a:ext>
              </a:extLst>
            </p:cNvPr>
            <p:cNvSpPr/>
            <p:nvPr/>
          </p:nvSpPr>
          <p:spPr>
            <a:xfrm>
              <a:off x="10249514" y="1885249"/>
              <a:ext cx="1077699" cy="317898"/>
            </a:xfrm>
            <a:prstGeom prst="roundRect">
              <a:avLst>
                <a:gd name="adj" fmla="val 0"/>
              </a:avLst>
            </a:prstGeom>
            <a:solidFill>
              <a:srgbClr val="60A3DA"/>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chemeClr val="bg1"/>
                  </a:solidFill>
                  <a:effectLst/>
                  <a:uLnTx/>
                  <a:uFillTx/>
                  <a:latin typeface="Univers Condensed" panose="020B0506020202050204" pitchFamily="34" charset="0"/>
                </a:rPr>
                <a:t>COMPETITIVITÀ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chemeClr val="bg1"/>
                  </a:solidFill>
                  <a:effectLst/>
                  <a:uLnTx/>
                  <a:uFillTx/>
                  <a:latin typeface="Univers Condensed" panose="020B0506020202050204" pitchFamily="34" charset="0"/>
                </a:rPr>
                <a:t>AMERICA LATINA</a:t>
              </a:r>
            </a:p>
          </p:txBody>
        </p:sp>
      </p:grpSp>
      <p:sp>
        <p:nvSpPr>
          <p:cNvPr id="12" name="Rettangolo con angoli arrotondati 11">
            <a:extLst>
              <a:ext uri="{FF2B5EF4-FFF2-40B4-BE49-F238E27FC236}">
                <a16:creationId xmlns:a16="http://schemas.microsoft.com/office/drawing/2014/main" id="{C39FAE83-B784-E8D2-83C5-366A577E0ED4}"/>
              </a:ext>
            </a:extLst>
          </p:cNvPr>
          <p:cNvSpPr/>
          <p:nvPr/>
        </p:nvSpPr>
        <p:spPr>
          <a:xfrm>
            <a:off x="138266" y="2954151"/>
            <a:ext cx="1181356" cy="60817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900" b="1" dirty="0">
                <a:solidFill>
                  <a:schemeClr val="bg1"/>
                </a:solidFill>
                <a:latin typeface="Univers Condensed" panose="020B0506020202050204" pitchFamily="34" charset="0"/>
              </a:rPr>
              <a:t>condizioni vantaggiose per energivore</a:t>
            </a:r>
            <a:endParaRPr kumimoji="0" lang="it-IT" sz="900" b="1" i="0" u="none" strike="noStrike" kern="1200" cap="none" spc="0" normalizeH="0" baseline="0" noProof="0" dirty="0">
              <a:ln>
                <a:noFill/>
              </a:ln>
              <a:solidFill>
                <a:schemeClr val="bg1"/>
              </a:solidFill>
              <a:effectLst/>
              <a:uLnTx/>
              <a:uFillTx/>
              <a:latin typeface="Univers Condensed" panose="020B0506020202050204" pitchFamily="34" charset="0"/>
            </a:endParaRPr>
          </a:p>
        </p:txBody>
      </p:sp>
      <p:grpSp>
        <p:nvGrpSpPr>
          <p:cNvPr id="5" name="Gruppo 4">
            <a:extLst>
              <a:ext uri="{FF2B5EF4-FFF2-40B4-BE49-F238E27FC236}">
                <a16:creationId xmlns:a16="http://schemas.microsoft.com/office/drawing/2014/main" id="{D87F7151-7BFC-6E31-173A-5F9964202849}"/>
              </a:ext>
            </a:extLst>
          </p:cNvPr>
          <p:cNvGrpSpPr/>
          <p:nvPr/>
        </p:nvGrpSpPr>
        <p:grpSpPr>
          <a:xfrm>
            <a:off x="3869320" y="1981196"/>
            <a:ext cx="1192266" cy="1656000"/>
            <a:chOff x="10183060" y="1837756"/>
            <a:chExt cx="1192266" cy="1656000"/>
          </a:xfrm>
          <a:effectLst>
            <a:reflection blurRad="6350" stA="52000" endA="300" endPos="35000" dir="5400000" sy="-100000" algn="bl" rotWithShape="0"/>
          </a:effectLst>
        </p:grpSpPr>
        <p:sp>
          <p:nvSpPr>
            <p:cNvPr id="13" name="Rettangolo con angoli arrotondati 12" descr="Taj Mahal">
              <a:extLst>
                <a:ext uri="{FF2B5EF4-FFF2-40B4-BE49-F238E27FC236}">
                  <a16:creationId xmlns:a16="http://schemas.microsoft.com/office/drawing/2014/main" id="{D9EBDE56-4400-1F83-7702-D422DC7C6D89}"/>
                </a:ext>
              </a:extLst>
            </p:cNvPr>
            <p:cNvSpPr/>
            <p:nvPr/>
          </p:nvSpPr>
          <p:spPr>
            <a:xfrm>
              <a:off x="10186888" y="1837756"/>
              <a:ext cx="1140326" cy="1656000"/>
            </a:xfrm>
            <a:prstGeom prst="roundRect">
              <a:avLst>
                <a:gd name="adj" fmla="val 12849"/>
              </a:avLst>
            </a:prstGeom>
            <a:blipFill>
              <a:blip r:embed="rId17" cstate="screen">
                <a:alphaModFix amt="71000"/>
                <a:extLst>
                  <a:ext uri="{28A0092B-C50C-407E-A947-70E740481C1C}">
                    <a14:useLocalDpi xmlns:a14="http://schemas.microsoft.com/office/drawing/2010/main" val="0"/>
                  </a:ext>
                </a:extLst>
              </a:blip>
              <a:srcRect/>
              <a:stretch>
                <a:fillRect/>
              </a:stretch>
            </a:blip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latin typeface="Univers Condensed" panose="020B0506020202050204" pitchFamily="34" charset="0"/>
              </a:endParaRPr>
            </a:p>
          </p:txBody>
        </p:sp>
        <p:sp>
          <p:nvSpPr>
            <p:cNvPr id="16" name="Rettangolo arrotondato 85">
              <a:extLst>
                <a:ext uri="{FF2B5EF4-FFF2-40B4-BE49-F238E27FC236}">
                  <a16:creationId xmlns:a16="http://schemas.microsoft.com/office/drawing/2014/main" id="{059DEC05-248E-02CD-2AB5-1D1F3346A378}"/>
                </a:ext>
              </a:extLst>
            </p:cNvPr>
            <p:cNvSpPr/>
            <p:nvPr/>
          </p:nvSpPr>
          <p:spPr>
            <a:xfrm>
              <a:off x="10183060" y="1885249"/>
              <a:ext cx="1192266" cy="317898"/>
            </a:xfrm>
            <a:prstGeom prst="roundRect">
              <a:avLst>
                <a:gd name="adj" fmla="val 0"/>
              </a:avLst>
            </a:prstGeom>
            <a:solidFill>
              <a:srgbClr val="F2EFEC"/>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800" b="1" dirty="0">
                  <a:solidFill>
                    <a:schemeClr val="accent1"/>
                  </a:solidFill>
                  <a:latin typeface="Univers Condensed" panose="020B0506020202050204" pitchFamily="34" charset="0"/>
                </a:rPr>
                <a:t>AFFIANCAMENTO MERCATO INDIANO</a:t>
              </a:r>
            </a:p>
          </p:txBody>
        </p:sp>
      </p:grpSp>
      <p:sp>
        <p:nvSpPr>
          <p:cNvPr id="55" name="Rettangolo con angoli arrotondati 54">
            <a:extLst>
              <a:ext uri="{FF2B5EF4-FFF2-40B4-BE49-F238E27FC236}">
                <a16:creationId xmlns:a16="http://schemas.microsoft.com/office/drawing/2014/main" id="{7279BA7D-4617-20D5-6E62-7B7C8793019C}"/>
              </a:ext>
            </a:extLst>
          </p:cNvPr>
          <p:cNvSpPr/>
          <p:nvPr/>
        </p:nvSpPr>
        <p:spPr>
          <a:xfrm>
            <a:off x="4729624" y="1624724"/>
            <a:ext cx="4314902" cy="266065"/>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050" b="1" dirty="0">
                <a:solidFill>
                  <a:srgbClr val="00B050"/>
                </a:solidFill>
                <a:latin typeface="Univers Condensed" panose="020B0506020202050204" pitchFamily="34" charset="0"/>
              </a:rPr>
              <a:t>Soluzioni per le competenze</a:t>
            </a:r>
            <a:endParaRPr kumimoji="0" lang="it-IT" sz="1050" b="1" i="0" u="none" strike="noStrike" kern="1200" cap="none" spc="0" normalizeH="0" baseline="0" noProof="0" dirty="0">
              <a:ln>
                <a:noFill/>
              </a:ln>
              <a:solidFill>
                <a:srgbClr val="00B050"/>
              </a:solidFill>
              <a:effectLst/>
              <a:uLnTx/>
              <a:uFillTx/>
              <a:latin typeface="Univers Condensed" panose="020B0506020202050204" pitchFamily="34" charset="0"/>
            </a:endParaRPr>
          </a:p>
        </p:txBody>
      </p:sp>
      <p:sp>
        <p:nvSpPr>
          <p:cNvPr id="56" name="Rettangolo con angoli arrotondati 55">
            <a:extLst>
              <a:ext uri="{FF2B5EF4-FFF2-40B4-BE49-F238E27FC236}">
                <a16:creationId xmlns:a16="http://schemas.microsoft.com/office/drawing/2014/main" id="{094FADEF-B04D-94F1-757C-6ADD6C54AA1E}"/>
              </a:ext>
            </a:extLst>
          </p:cNvPr>
          <p:cNvSpPr/>
          <p:nvPr/>
        </p:nvSpPr>
        <p:spPr>
          <a:xfrm>
            <a:off x="8121532" y="1643122"/>
            <a:ext cx="4314902" cy="266065"/>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050" b="1" dirty="0">
                <a:solidFill>
                  <a:srgbClr val="00B050"/>
                </a:solidFill>
                <a:latin typeface="Univers Condensed" panose="020B0506020202050204" pitchFamily="34" charset="0"/>
              </a:rPr>
              <a:t>Soluzioni per  la crescita all’estero</a:t>
            </a:r>
            <a:endParaRPr kumimoji="0" lang="it-IT" sz="1050" b="1" i="0" u="none" strike="noStrike" kern="1200" cap="none" spc="0" normalizeH="0" baseline="0" noProof="0" dirty="0">
              <a:ln>
                <a:noFill/>
              </a:ln>
              <a:solidFill>
                <a:srgbClr val="00B050"/>
              </a:solidFill>
              <a:effectLst/>
              <a:uLnTx/>
              <a:uFillTx/>
              <a:latin typeface="Univers Condensed" panose="020B0506020202050204" pitchFamily="34" charset="0"/>
            </a:endParaRPr>
          </a:p>
        </p:txBody>
      </p:sp>
      <p:sp>
        <p:nvSpPr>
          <p:cNvPr id="52" name="Rettangolo arrotondato 85">
            <a:extLst>
              <a:ext uri="{FF2B5EF4-FFF2-40B4-BE49-F238E27FC236}">
                <a16:creationId xmlns:a16="http://schemas.microsoft.com/office/drawing/2014/main" id="{C05C1A66-5604-58E9-2FD1-02CDDA2A45A0}"/>
              </a:ext>
            </a:extLst>
          </p:cNvPr>
          <p:cNvSpPr/>
          <p:nvPr/>
        </p:nvSpPr>
        <p:spPr>
          <a:xfrm rot="2000341">
            <a:off x="5899246" y="5427335"/>
            <a:ext cx="453719" cy="161816"/>
          </a:xfrm>
          <a:prstGeom prst="roundRect">
            <a:avLst/>
          </a:prstGeom>
          <a:solidFill>
            <a:srgbClr val="00B05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800" b="1" i="0" u="none" strike="noStrike" kern="0" cap="none" spc="0" normalizeH="0" baseline="0" noProof="0" dirty="0">
                <a:ln>
                  <a:noFill/>
                </a:ln>
                <a:solidFill>
                  <a:prstClr val="white"/>
                </a:solidFill>
                <a:effectLst/>
                <a:uLnTx/>
                <a:uFillTx/>
                <a:latin typeface="Univers Condensed" panose="020B0506020202050204" pitchFamily="34" charset="0"/>
                <a:cs typeface="Arial" panose="020B0604020202020204" pitchFamily="34" charset="0"/>
              </a:rPr>
              <a:t>NEW</a:t>
            </a:r>
          </a:p>
        </p:txBody>
      </p:sp>
      <p:sp>
        <p:nvSpPr>
          <p:cNvPr id="50" name="CasellaDiTesto 49">
            <a:extLst>
              <a:ext uri="{FF2B5EF4-FFF2-40B4-BE49-F238E27FC236}">
                <a16:creationId xmlns:a16="http://schemas.microsoft.com/office/drawing/2014/main" id="{08844F1F-4A45-9219-520C-421F88FCB4D8}"/>
              </a:ext>
            </a:extLst>
          </p:cNvPr>
          <p:cNvSpPr txBox="1"/>
          <p:nvPr/>
        </p:nvSpPr>
        <p:spPr>
          <a:xfrm>
            <a:off x="678183" y="6417543"/>
            <a:ext cx="4581714"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it-IT" sz="900" b="0" i="1" u="none" strike="noStrike" kern="1200" cap="none" spc="0" normalizeH="0" baseline="0" noProof="0" dirty="0">
                <a:ln>
                  <a:noFill/>
                </a:ln>
                <a:solidFill>
                  <a:srgbClr val="415364"/>
                </a:solidFill>
                <a:effectLst/>
                <a:uLnTx/>
                <a:uFillTx/>
                <a:latin typeface="+mj-lt"/>
                <a:ea typeface="+mn-ea"/>
                <a:cs typeface="+mn-cs"/>
              </a:rPr>
              <a:t>*</a:t>
            </a:r>
            <a:r>
              <a:rPr lang="it-IT" sz="900" i="1" dirty="0">
                <a:solidFill>
                  <a:srgbClr val="415364"/>
                </a:solidFill>
                <a:latin typeface="+mj-lt"/>
              </a:rPr>
              <a:t>* per Africa, America Latina, India</a:t>
            </a:r>
            <a:endParaRPr kumimoji="0" lang="it-IT" sz="900" b="0" i="1" u="none" strike="noStrike" kern="1200" cap="none" spc="0" normalizeH="0" baseline="0" noProof="0" dirty="0">
              <a:ln>
                <a:noFill/>
              </a:ln>
              <a:solidFill>
                <a:srgbClr val="415364"/>
              </a:solidFill>
              <a:effectLst/>
              <a:uLnTx/>
              <a:uFillTx/>
              <a:latin typeface="+mj-lt"/>
              <a:ea typeface="+mn-ea"/>
              <a:cs typeface="+mn-cs"/>
            </a:endParaRPr>
          </a:p>
        </p:txBody>
      </p:sp>
    </p:spTree>
    <p:extLst>
      <p:ext uri="{BB962C8B-B14F-4D97-AF65-F5344CB8AC3E}">
        <p14:creationId xmlns:p14="http://schemas.microsoft.com/office/powerpoint/2010/main" val="42191493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F3CB6303-B81F-7BCF-D8F0-C9510965F5FF}"/>
              </a:ext>
            </a:extLst>
          </p:cNvPr>
          <p:cNvSpPr/>
          <p:nvPr/>
        </p:nvSpPr>
        <p:spPr>
          <a:xfrm>
            <a:off x="6414634" y="0"/>
            <a:ext cx="5777366" cy="6858000"/>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latin typeface="Univers Condensed" panose="020B0506020202050204" pitchFamily="34" charset="0"/>
            </a:endParaRPr>
          </a:p>
        </p:txBody>
      </p:sp>
      <p:sp>
        <p:nvSpPr>
          <p:cNvPr id="20" name="Rettangolo 19">
            <a:extLst>
              <a:ext uri="{FF2B5EF4-FFF2-40B4-BE49-F238E27FC236}">
                <a16:creationId xmlns:a16="http://schemas.microsoft.com/office/drawing/2014/main" id="{515216F3-D016-6997-2E80-4DBDDF322B45}"/>
              </a:ext>
            </a:extLst>
          </p:cNvPr>
          <p:cNvSpPr/>
          <p:nvPr/>
        </p:nvSpPr>
        <p:spPr>
          <a:xfrm>
            <a:off x="383336" y="822279"/>
            <a:ext cx="5394031" cy="5554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2400" b="1" dirty="0">
                <a:solidFill>
                  <a:schemeClr val="accent2"/>
                </a:solidFill>
                <a:latin typeface="Univers Condensed" panose="020B0506020202050204" pitchFamily="34" charset="0"/>
              </a:rPr>
              <a:t>«Transizione Digitale o Ecologica»</a:t>
            </a:r>
          </a:p>
        </p:txBody>
      </p:sp>
      <p:sp>
        <p:nvSpPr>
          <p:cNvPr id="4" name="Segnaposto numero diapositiva 3">
            <a:extLst>
              <a:ext uri="{FF2B5EF4-FFF2-40B4-BE49-F238E27FC236}">
                <a16:creationId xmlns:a16="http://schemas.microsoft.com/office/drawing/2014/main" id="{45A0A2B9-85F9-8097-1D8E-3E44F9CB4362}"/>
              </a:ext>
            </a:extLst>
          </p:cNvPr>
          <p:cNvSpPr>
            <a:spLocks noGrp="1"/>
          </p:cNvSpPr>
          <p:nvPr>
            <p:ph type="sldNum" sz="quarter" idx="12"/>
          </p:nvPr>
        </p:nvSpPr>
        <p:spPr/>
        <p:txBody>
          <a:bodyPr/>
          <a:lstStyle/>
          <a:p>
            <a:fld id="{608DA0FE-9C19-F746-8419-6700E348BF78}" type="slidenum">
              <a:rPr lang="it-IT" smtClean="0"/>
              <a:pPr/>
              <a:t>4</a:t>
            </a:fld>
            <a:endParaRPr lang="it-IT" dirty="0"/>
          </a:p>
        </p:txBody>
      </p:sp>
      <p:sp>
        <p:nvSpPr>
          <p:cNvPr id="11" name="Rettangolo arrotondato 85">
            <a:extLst>
              <a:ext uri="{FF2B5EF4-FFF2-40B4-BE49-F238E27FC236}">
                <a16:creationId xmlns:a16="http://schemas.microsoft.com/office/drawing/2014/main" id="{2EAAA5B9-BF60-4730-D0B1-9CBDD012E647}"/>
              </a:ext>
            </a:extLst>
          </p:cNvPr>
          <p:cNvSpPr/>
          <p:nvPr/>
        </p:nvSpPr>
        <p:spPr>
          <a:xfrm>
            <a:off x="272350" y="3990710"/>
            <a:ext cx="2025506" cy="58556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Per imprese che:</a:t>
            </a:r>
          </a:p>
        </p:txBody>
      </p:sp>
      <p:sp>
        <p:nvSpPr>
          <p:cNvPr id="12" name="Rettangolo arrotondato 85">
            <a:extLst>
              <a:ext uri="{FF2B5EF4-FFF2-40B4-BE49-F238E27FC236}">
                <a16:creationId xmlns:a16="http://schemas.microsoft.com/office/drawing/2014/main" id="{5EB40DAC-C240-3162-CCE4-69550B92D39B}"/>
              </a:ext>
            </a:extLst>
          </p:cNvPr>
          <p:cNvSpPr/>
          <p:nvPr/>
        </p:nvSpPr>
        <p:spPr>
          <a:xfrm>
            <a:off x="303979" y="4493034"/>
            <a:ext cx="5979650" cy="189857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just" defTabSz="914400" rtl="0" eaLnBrk="1" fontAlgn="auto" latinLnBrk="0" hangingPunct="1">
              <a:lnSpc>
                <a:spcPct val="100000"/>
              </a:lnSpc>
              <a:spcBef>
                <a:spcPts val="0"/>
              </a:spcBef>
              <a:spcAft>
                <a:spcPts val="600"/>
              </a:spcAft>
              <a:buClrTx/>
              <a:buSzTx/>
              <a:tabLst/>
              <a:defRPr/>
            </a:pPr>
            <a:r>
              <a:rPr kumimoji="0" lang="it-IT" sz="1600" i="0" u="none" strike="noStrike" kern="1200" cap="none" spc="0" normalizeH="0" baseline="0" noProof="0" dirty="0">
                <a:ln>
                  <a:noFill/>
                </a:ln>
                <a:solidFill>
                  <a:schemeClr val="accent1"/>
                </a:solidFill>
                <a:effectLst/>
                <a:uLnTx/>
                <a:uFillTx/>
                <a:latin typeface="Univers Condensed" panose="020B0506020202050204" pitchFamily="34" charset="0"/>
                <a:ea typeface="+mn-ea"/>
                <a:cs typeface="+mn-cs"/>
              </a:rPr>
              <a:t>abbiano depositato 2 bilanci e:</a:t>
            </a:r>
          </a:p>
          <a:p>
            <a:pPr marL="180975" marR="0" lvl="0" indent="-180975" algn="just"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lang="it-IT" sz="1600" dirty="0">
                <a:solidFill>
                  <a:schemeClr val="accent1"/>
                </a:solidFill>
                <a:latin typeface="Univers Condensed" panose="020B0506020202050204" pitchFamily="34" charset="0"/>
              </a:rPr>
              <a:t>con fatturato export </a:t>
            </a:r>
            <a:r>
              <a:rPr lang="it-IT" sz="1600" dirty="0">
                <a:solidFill>
                  <a:schemeClr val="accent1"/>
                </a:solidFill>
                <a:latin typeface="Times New Roman" panose="02020603050405020304" pitchFamily="18" charset="0"/>
                <a:cs typeface="Times New Roman" panose="02020603050405020304" pitchFamily="18" charset="0"/>
              </a:rPr>
              <a:t>≥</a:t>
            </a:r>
            <a:r>
              <a:rPr lang="it-IT" sz="1600" dirty="0">
                <a:solidFill>
                  <a:schemeClr val="accent1"/>
                </a:solidFill>
                <a:latin typeface="Univers Condensed" panose="020B0506020202050204" pitchFamily="34" charset="0"/>
              </a:rPr>
              <a:t>10% </a:t>
            </a:r>
            <a:r>
              <a:rPr lang="it-IT" sz="1600" b="1" dirty="0">
                <a:solidFill>
                  <a:schemeClr val="accent1"/>
                </a:solidFill>
                <a:latin typeface="Univers Condensed" panose="020B0506020202050204" pitchFamily="34" charset="0"/>
              </a:rPr>
              <a:t>oppure</a:t>
            </a:r>
          </a:p>
          <a:p>
            <a:pPr marL="180975" lvl="0" indent="-180975" algn="just">
              <a:spcAft>
                <a:spcPts val="600"/>
              </a:spcAft>
              <a:buFont typeface="Wingdings" panose="05000000000000000000" pitchFamily="2" charset="2"/>
              <a:buChar char="§"/>
              <a:defRPr/>
            </a:pPr>
            <a:r>
              <a:rPr lang="it-IT" sz="1600" dirty="0">
                <a:solidFill>
                  <a:schemeClr val="accent1"/>
                </a:solidFill>
                <a:latin typeface="Univers Condensed" panose="020B0506020202050204" pitchFamily="34" charset="0"/>
              </a:rPr>
              <a:t>con fatturato export </a:t>
            </a:r>
            <a:r>
              <a:rPr lang="it-IT" sz="1600" dirty="0">
                <a:solidFill>
                  <a:schemeClr val="accent1"/>
                </a:solidFill>
                <a:latin typeface="Times New Roman" panose="02020603050405020304" pitchFamily="18" charset="0"/>
                <a:cs typeface="Times New Roman" panose="02020603050405020304" pitchFamily="18" charset="0"/>
              </a:rPr>
              <a:t>≥</a:t>
            </a:r>
            <a:r>
              <a:rPr lang="it-IT" sz="1600" dirty="0">
                <a:solidFill>
                  <a:schemeClr val="accent1"/>
                </a:solidFill>
                <a:latin typeface="Univers Condensed" panose="020B0506020202050204" pitchFamily="34" charset="0"/>
              </a:rPr>
              <a:t>3% e siano </a:t>
            </a:r>
            <a:r>
              <a:rPr lang="it-IT" sz="1600" b="1" dirty="0">
                <a:solidFill>
                  <a:schemeClr val="accent1"/>
                </a:solidFill>
                <a:latin typeface="Univers Condensed" panose="020B0506020202050204" pitchFamily="34" charset="0"/>
              </a:rPr>
              <a:t>«energivore» </a:t>
            </a:r>
            <a:r>
              <a:rPr lang="it-IT" sz="1600" dirty="0">
                <a:solidFill>
                  <a:schemeClr val="accent1"/>
                </a:solidFill>
                <a:latin typeface="Univers Condensed" panose="020B0506020202050204" pitchFamily="34" charset="0"/>
              </a:rPr>
              <a:t>o abbiano intrapreso </a:t>
            </a:r>
            <a:r>
              <a:rPr lang="it-IT" sz="1600" b="1" dirty="0">
                <a:solidFill>
                  <a:schemeClr val="accent1"/>
                </a:solidFill>
                <a:latin typeface="Univers Condensed" panose="020B0506020202050204" pitchFamily="34" charset="0"/>
              </a:rPr>
              <a:t>percorsi di efficientamento energetico </a:t>
            </a:r>
            <a:r>
              <a:rPr lang="it-IT" sz="1600" dirty="0">
                <a:solidFill>
                  <a:schemeClr val="accent1"/>
                </a:solidFill>
                <a:latin typeface="Univers Condensed" panose="020B0506020202050204" pitchFamily="34" charset="0"/>
              </a:rPr>
              <a:t>(anche in fase di ottenimento della diagnosi energetica) </a:t>
            </a:r>
            <a:r>
              <a:rPr lang="it-IT" sz="1600" b="1" dirty="0">
                <a:solidFill>
                  <a:schemeClr val="accent1"/>
                </a:solidFill>
                <a:latin typeface="Univers Condensed" panose="020B0506020202050204" pitchFamily="34" charset="0"/>
              </a:rPr>
              <a:t>oppure</a:t>
            </a:r>
          </a:p>
          <a:p>
            <a:pPr marL="180975" indent="-180975" algn="just">
              <a:spcAft>
                <a:spcPts val="600"/>
              </a:spcAft>
              <a:buFont typeface="Wingdings" panose="05000000000000000000" pitchFamily="2" charset="2"/>
              <a:buChar char="§"/>
              <a:defRPr/>
            </a:pPr>
            <a:r>
              <a:rPr lang="it-IT" sz="1600" b="1" dirty="0">
                <a:solidFill>
                  <a:schemeClr val="accent1"/>
                </a:solidFill>
                <a:latin typeface="Univers Condensed" panose="020B0506020202050204" pitchFamily="34" charset="0"/>
              </a:rPr>
              <a:t>non siano esportatrici ma appartenenti a filiere </a:t>
            </a:r>
            <a:r>
              <a:rPr lang="it-IT" sz="1600" dirty="0">
                <a:solidFill>
                  <a:schemeClr val="accent1"/>
                </a:solidFill>
                <a:latin typeface="Univers Condensed" panose="020B0506020202050204" pitchFamily="34" charset="0"/>
              </a:rPr>
              <a:t>(fornitrici per </a:t>
            </a:r>
            <a:r>
              <a:rPr lang="it-IT" sz="1600" dirty="0">
                <a:solidFill>
                  <a:schemeClr val="accent1"/>
                </a:solidFill>
                <a:latin typeface="Times New Roman" panose="02020603050405020304" pitchFamily="18" charset="0"/>
                <a:cs typeface="Times New Roman" panose="02020603050405020304" pitchFamily="18" charset="0"/>
              </a:rPr>
              <a:t>≥</a:t>
            </a:r>
            <a:r>
              <a:rPr lang="it-IT" sz="1600" dirty="0">
                <a:solidFill>
                  <a:schemeClr val="accent1"/>
                </a:solidFill>
                <a:latin typeface="Univers Condensed" panose="020B0506020202050204" pitchFamily="34" charset="0"/>
              </a:rPr>
              <a:t>10% del proprio fatturato di imprese clienti con fatturato export </a:t>
            </a:r>
            <a:r>
              <a:rPr lang="it-IT" sz="1600" dirty="0">
                <a:solidFill>
                  <a:schemeClr val="accent1"/>
                </a:solidFill>
                <a:latin typeface="Times New Roman" panose="02020603050405020304" pitchFamily="18" charset="0"/>
                <a:cs typeface="Times New Roman" panose="02020603050405020304" pitchFamily="18" charset="0"/>
              </a:rPr>
              <a:t>≥</a:t>
            </a:r>
            <a:r>
              <a:rPr lang="it-IT" sz="1600" dirty="0">
                <a:solidFill>
                  <a:schemeClr val="accent1"/>
                </a:solidFill>
                <a:latin typeface="Univers Condensed" panose="020B0506020202050204" pitchFamily="34" charset="0"/>
              </a:rPr>
              <a:t>3%)</a:t>
            </a:r>
            <a:endParaRPr lang="it-IT" sz="1600" b="1" dirty="0">
              <a:solidFill>
                <a:schemeClr val="accent1"/>
              </a:solidFill>
              <a:latin typeface="Univers Condensed" panose="020B0506020202050204" pitchFamily="34" charset="0"/>
            </a:endParaRPr>
          </a:p>
        </p:txBody>
      </p:sp>
      <p:sp>
        <p:nvSpPr>
          <p:cNvPr id="18" name="CasellaDiTesto 17">
            <a:extLst>
              <a:ext uri="{FF2B5EF4-FFF2-40B4-BE49-F238E27FC236}">
                <a16:creationId xmlns:a16="http://schemas.microsoft.com/office/drawing/2014/main" id="{D383ABEC-8B08-1A2D-E31C-EAF0A7F61887}"/>
              </a:ext>
            </a:extLst>
          </p:cNvPr>
          <p:cNvSpPr txBox="1"/>
          <p:nvPr/>
        </p:nvSpPr>
        <p:spPr>
          <a:xfrm>
            <a:off x="6905240" y="140434"/>
            <a:ext cx="4921677" cy="830997"/>
          </a:xfrm>
          <a:prstGeom prst="rect">
            <a:avLst/>
          </a:prstGeom>
          <a:noFill/>
        </p:spPr>
        <p:txBody>
          <a:bodyPr wrap="square">
            <a:spAutoFit/>
          </a:bodyPr>
          <a:lstStyle/>
          <a:p>
            <a:pPr algn="ctr"/>
            <a:r>
              <a:rPr lang="it-IT" sz="2400" b="1" dirty="0">
                <a:latin typeface="Univers Condensed" panose="020B0506020202050204" pitchFamily="34" charset="0"/>
                <a:ea typeface="Times New Roman" panose="02020603050405020304" pitchFamily="18" charset="0"/>
              </a:rPr>
              <a:t>CON QUESTO STRUMENTO PUOI FINANZIARE</a:t>
            </a:r>
            <a:endParaRPr lang="it-IT" sz="2400" b="1" dirty="0">
              <a:effectLst/>
              <a:latin typeface="Univers Condensed" panose="020B0506020202050204" pitchFamily="34" charset="0"/>
              <a:ea typeface="Times New Roman" panose="02020603050405020304" pitchFamily="18" charset="0"/>
            </a:endParaRPr>
          </a:p>
        </p:txBody>
      </p:sp>
      <p:sp>
        <p:nvSpPr>
          <p:cNvPr id="19" name="CasellaDiTesto 18">
            <a:extLst>
              <a:ext uri="{FF2B5EF4-FFF2-40B4-BE49-F238E27FC236}">
                <a16:creationId xmlns:a16="http://schemas.microsoft.com/office/drawing/2014/main" id="{96C1199E-6C7D-FCA2-1E6D-00DE773EE58C}"/>
              </a:ext>
            </a:extLst>
          </p:cNvPr>
          <p:cNvSpPr txBox="1"/>
          <p:nvPr/>
        </p:nvSpPr>
        <p:spPr>
          <a:xfrm>
            <a:off x="6627650" y="1412827"/>
            <a:ext cx="5483285" cy="5601533"/>
          </a:xfrm>
          <a:prstGeom prst="rect">
            <a:avLst/>
          </a:prstGeom>
          <a:noFill/>
        </p:spPr>
        <p:txBody>
          <a:bodyPr wrap="square">
            <a:spAutoFit/>
          </a:bodyPr>
          <a:lstStyle/>
          <a:p>
            <a:pPr marL="285750" indent="-285750">
              <a:spcAft>
                <a:spcPts val="1800"/>
              </a:spcAft>
              <a:buFont typeface="Wingdings" panose="05000000000000000000" pitchFamily="2" charset="2"/>
              <a:buChar char="§"/>
            </a:pPr>
            <a:r>
              <a:rPr lang="it-IT" sz="2300" b="1" dirty="0">
                <a:latin typeface="Univers Condensed" panose="020B0506020202050204" pitchFamily="34" charset="0"/>
              </a:rPr>
              <a:t>Sviluppo digitale </a:t>
            </a:r>
            <a:r>
              <a:rPr lang="it-IT" sz="2300" dirty="0">
                <a:latin typeface="Univers Condensed" panose="020B0506020202050204" pitchFamily="34" charset="0"/>
              </a:rPr>
              <a:t>dei processi aziendali, investimenti in attrezzature tecnologiche, </a:t>
            </a:r>
            <a:r>
              <a:rPr lang="it-IT" sz="2300" b="1" dirty="0">
                <a:latin typeface="Univers Condensed" panose="020B0506020202050204" pitchFamily="34" charset="0"/>
              </a:rPr>
              <a:t>blockchain</a:t>
            </a:r>
            <a:r>
              <a:rPr lang="it-IT" sz="2300" dirty="0">
                <a:latin typeface="Univers Condensed" panose="020B0506020202050204" pitchFamily="34" charset="0"/>
              </a:rPr>
              <a:t>, </a:t>
            </a:r>
            <a:r>
              <a:rPr lang="it-IT" sz="2300" b="1" dirty="0">
                <a:latin typeface="Univers Condensed" panose="020B0506020202050204" pitchFamily="34" charset="0"/>
              </a:rPr>
              <a:t>formazione</a:t>
            </a:r>
            <a:r>
              <a:rPr lang="it-IT" sz="2300" dirty="0">
                <a:latin typeface="Univers Condensed" panose="020B0506020202050204" pitchFamily="34" charset="0"/>
              </a:rPr>
              <a:t> su </a:t>
            </a:r>
            <a:r>
              <a:rPr lang="it-IT" sz="2300" b="1" dirty="0">
                <a:latin typeface="Univers Condensed" panose="020B0506020202050204" pitchFamily="34" charset="0"/>
              </a:rPr>
              <a:t>industria 4.0</a:t>
            </a:r>
            <a:r>
              <a:rPr lang="it-IT" sz="2300" dirty="0">
                <a:latin typeface="Univers Condensed" panose="020B0506020202050204" pitchFamily="34" charset="0"/>
              </a:rPr>
              <a:t>, </a:t>
            </a:r>
            <a:r>
              <a:rPr lang="it-IT" sz="2300" i="1" dirty="0" err="1">
                <a:latin typeface="Univers Condensed" panose="020B0506020202050204" pitchFamily="34" charset="0"/>
              </a:rPr>
              <a:t>disaster</a:t>
            </a:r>
            <a:r>
              <a:rPr lang="it-IT" sz="2300" i="1" dirty="0">
                <a:latin typeface="Univers Condensed" panose="020B0506020202050204" pitchFamily="34" charset="0"/>
              </a:rPr>
              <a:t> recovery e business </a:t>
            </a:r>
            <a:r>
              <a:rPr lang="it-IT" sz="2300" i="1" dirty="0" err="1">
                <a:latin typeface="Univers Condensed" panose="020B0506020202050204" pitchFamily="34" charset="0"/>
              </a:rPr>
              <a:t>continuity</a:t>
            </a:r>
            <a:endParaRPr lang="it-IT" sz="2300" i="1" dirty="0">
              <a:latin typeface="Univers Condensed" panose="020B0506020202050204" pitchFamily="34" charset="0"/>
            </a:endParaRPr>
          </a:p>
          <a:p>
            <a:pPr marL="285750" indent="-285750">
              <a:spcAft>
                <a:spcPts val="1800"/>
              </a:spcAft>
              <a:buFont typeface="Wingdings" panose="05000000000000000000" pitchFamily="2" charset="2"/>
              <a:buChar char="§"/>
            </a:pPr>
            <a:r>
              <a:rPr lang="it-IT" sz="2300" b="1" dirty="0">
                <a:latin typeface="Univers Condensed" panose="020B0506020202050204" pitchFamily="34" charset="0"/>
              </a:rPr>
              <a:t>Efficientamento energetico, idrico, mitigazione impatti climatici (es: impianto fotovoltaico) </a:t>
            </a:r>
            <a:r>
              <a:rPr lang="it-IT" sz="2300" dirty="0">
                <a:latin typeface="Univers Condensed" panose="020B0506020202050204" pitchFamily="34" charset="0"/>
              </a:rPr>
              <a:t>e ottenimento/mantenimento delle </a:t>
            </a:r>
            <a:r>
              <a:rPr lang="it-IT" sz="2300" b="1" dirty="0">
                <a:latin typeface="Univers Condensed" panose="020B0506020202050204" pitchFamily="34" charset="0"/>
              </a:rPr>
              <a:t>certificazioni ambientali, </a:t>
            </a:r>
            <a:r>
              <a:rPr lang="it-IT" sz="2400" dirty="0"/>
              <a:t> </a:t>
            </a:r>
            <a:r>
              <a:rPr lang="it-IT" sz="2300" dirty="0">
                <a:latin typeface="Univers Condensed" panose="020B0506020202050204" pitchFamily="34" charset="0"/>
              </a:rPr>
              <a:t>incluse le spese per l’ottenimento di una diagnosi energetica</a:t>
            </a:r>
          </a:p>
          <a:p>
            <a:pPr marL="285750" indent="-285750">
              <a:spcAft>
                <a:spcPts val="1800"/>
              </a:spcAft>
              <a:buFont typeface="Wingdings" panose="05000000000000000000" pitchFamily="2" charset="2"/>
              <a:buChar char="§"/>
            </a:pPr>
            <a:r>
              <a:rPr lang="it-IT" sz="2300" b="1" dirty="0">
                <a:latin typeface="Univers Condensed" panose="020B0506020202050204" pitchFamily="34" charset="0"/>
              </a:rPr>
              <a:t>Finanziamenti alle società controllate </a:t>
            </a:r>
            <a:r>
              <a:rPr lang="it-IT" dirty="0">
                <a:latin typeface="Univers Condensed" panose="020B0506020202050204" pitchFamily="34" charset="0"/>
              </a:rPr>
              <a:t>(incrementi capitale sociale e finanziamenti soci, </a:t>
            </a:r>
            <a:r>
              <a:rPr lang="it-IT" b="1" dirty="0">
                <a:latin typeface="Univers Condensed" panose="020B0506020202050204" pitchFamily="34" charset="0"/>
              </a:rPr>
              <a:t>fino a 1 €/mln per le imprese con controllate in USA</a:t>
            </a:r>
            <a:r>
              <a:rPr lang="it-IT" dirty="0">
                <a:latin typeface="Univers Condensed" panose="020B0506020202050204" pitchFamily="34" charset="0"/>
              </a:rPr>
              <a:t>)</a:t>
            </a:r>
          </a:p>
          <a:p>
            <a:pPr marL="285750" indent="-285750">
              <a:spcAft>
                <a:spcPts val="1800"/>
              </a:spcAft>
              <a:buFont typeface="Wingdings" panose="05000000000000000000" pitchFamily="2" charset="2"/>
              <a:buChar char="§"/>
            </a:pPr>
            <a:endParaRPr lang="it-IT" sz="2300" dirty="0">
              <a:highlight>
                <a:srgbClr val="FFFF00"/>
              </a:highlight>
              <a:latin typeface="Univers Condensed" panose="020B0506020202050204" pitchFamily="34" charset="0"/>
            </a:endParaRPr>
          </a:p>
        </p:txBody>
      </p:sp>
      <p:sp>
        <p:nvSpPr>
          <p:cNvPr id="24" name="Rettangolo 23">
            <a:extLst>
              <a:ext uri="{FF2B5EF4-FFF2-40B4-BE49-F238E27FC236}">
                <a16:creationId xmlns:a16="http://schemas.microsoft.com/office/drawing/2014/main" id="{A8524AE2-D2AC-97E5-DF3D-49CE20696990}"/>
              </a:ext>
            </a:extLst>
          </p:cNvPr>
          <p:cNvSpPr/>
          <p:nvPr/>
        </p:nvSpPr>
        <p:spPr>
          <a:xfrm>
            <a:off x="2011680" y="506"/>
            <a:ext cx="4402955" cy="5554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2800" b="1" dirty="0">
                <a:solidFill>
                  <a:schemeClr val="accent1"/>
                </a:solidFill>
                <a:latin typeface="Univers Condensed" panose="020B0506020202050204" pitchFamily="34" charset="0"/>
              </a:rPr>
              <a:t>gli investimenti </a:t>
            </a:r>
          </a:p>
        </p:txBody>
      </p:sp>
      <p:sp>
        <p:nvSpPr>
          <p:cNvPr id="25" name="Freccia a pentagono 24">
            <a:extLst>
              <a:ext uri="{FF2B5EF4-FFF2-40B4-BE49-F238E27FC236}">
                <a16:creationId xmlns:a16="http://schemas.microsoft.com/office/drawing/2014/main" id="{106FF025-E525-D70B-BBA9-2826B267BB90}"/>
              </a:ext>
            </a:extLst>
          </p:cNvPr>
          <p:cNvSpPr/>
          <p:nvPr/>
        </p:nvSpPr>
        <p:spPr>
          <a:xfrm>
            <a:off x="-1" y="435"/>
            <a:ext cx="2915921" cy="555498"/>
          </a:xfrm>
          <a:prstGeom prst="homePlat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it-IT" sz="2800" b="1" dirty="0">
                <a:solidFill>
                  <a:schemeClr val="bg1"/>
                </a:solidFill>
                <a:latin typeface="Univers Condensed" panose="020B0506020202050204" pitchFamily="34" charset="0"/>
              </a:rPr>
              <a:t>Le soluzioni per</a:t>
            </a:r>
          </a:p>
        </p:txBody>
      </p:sp>
      <p:sp>
        <p:nvSpPr>
          <p:cNvPr id="29" name="CasellaDiTesto 28">
            <a:extLst>
              <a:ext uri="{FF2B5EF4-FFF2-40B4-BE49-F238E27FC236}">
                <a16:creationId xmlns:a16="http://schemas.microsoft.com/office/drawing/2014/main" id="{3D1209F7-F83C-294A-FD54-03DF07C4FD13}"/>
              </a:ext>
            </a:extLst>
          </p:cNvPr>
          <p:cNvSpPr txBox="1"/>
          <p:nvPr/>
        </p:nvSpPr>
        <p:spPr>
          <a:xfrm>
            <a:off x="2879365" y="2266192"/>
            <a:ext cx="3257509" cy="707886"/>
          </a:xfrm>
          <a:prstGeom prst="rect">
            <a:avLst/>
          </a:prstGeom>
          <a:noFill/>
        </p:spPr>
        <p:txBody>
          <a:bodyPr wrap="square">
            <a:spAutoFit/>
          </a:bodyPr>
          <a:lstStyle/>
          <a:p>
            <a:r>
              <a:rPr lang="it-IT" sz="2000" dirty="0">
                <a:latin typeface="Univers Condensed" panose="020B0506020202050204" pitchFamily="34" charset="0"/>
                <a:ea typeface="Times New Roman" panose="02020603050405020304" pitchFamily="18" charset="0"/>
              </a:rPr>
              <a:t>investimenti per il </a:t>
            </a:r>
            <a:r>
              <a:rPr lang="it-IT" sz="2000" b="1" dirty="0">
                <a:latin typeface="Univers Condensed" panose="020B0506020202050204" pitchFamily="34" charset="0"/>
                <a:ea typeface="Times New Roman" panose="02020603050405020304" pitchFamily="18" charset="0"/>
              </a:rPr>
              <a:t>rafforzamento patrimoniale</a:t>
            </a:r>
            <a:endParaRPr lang="it-IT" sz="2000" b="1" dirty="0">
              <a:effectLst/>
              <a:latin typeface="Univers Condensed" panose="020B0506020202050204" pitchFamily="34" charset="0"/>
              <a:ea typeface="Times New Roman" panose="02020603050405020304" pitchFamily="18" charset="0"/>
            </a:endParaRPr>
          </a:p>
        </p:txBody>
      </p:sp>
      <p:sp>
        <p:nvSpPr>
          <p:cNvPr id="32" name="CasellaDiTesto 31">
            <a:extLst>
              <a:ext uri="{FF2B5EF4-FFF2-40B4-BE49-F238E27FC236}">
                <a16:creationId xmlns:a16="http://schemas.microsoft.com/office/drawing/2014/main" id="{49C6D60C-4E66-87FC-294F-4EB32D511336}"/>
              </a:ext>
            </a:extLst>
          </p:cNvPr>
          <p:cNvSpPr txBox="1"/>
          <p:nvPr/>
        </p:nvSpPr>
        <p:spPr>
          <a:xfrm>
            <a:off x="2915920" y="1501450"/>
            <a:ext cx="3110394" cy="707886"/>
          </a:xfrm>
          <a:prstGeom prst="rect">
            <a:avLst/>
          </a:prstGeom>
          <a:noFill/>
        </p:spPr>
        <p:txBody>
          <a:bodyPr wrap="square">
            <a:spAutoFit/>
          </a:bodyPr>
          <a:lstStyle/>
          <a:p>
            <a:r>
              <a:rPr lang="it-IT" sz="2000" b="1" dirty="0">
                <a:latin typeface="Univers Condensed" panose="020B0506020202050204" pitchFamily="34" charset="0"/>
                <a:ea typeface="Times New Roman" panose="02020603050405020304" pitchFamily="18" charset="0"/>
              </a:rPr>
              <a:t>innovazione digitale </a:t>
            </a:r>
            <a:r>
              <a:rPr lang="it-IT" sz="2000" dirty="0">
                <a:latin typeface="Univers Condensed" panose="020B0506020202050204" pitchFamily="34" charset="0"/>
                <a:ea typeface="Times New Roman" panose="02020603050405020304" pitchFamily="18" charset="0"/>
              </a:rPr>
              <a:t>e </a:t>
            </a:r>
            <a:r>
              <a:rPr lang="it-IT" sz="2000" b="1" dirty="0">
                <a:latin typeface="Univers Condensed" panose="020B0506020202050204" pitchFamily="34" charset="0"/>
                <a:ea typeface="Times New Roman" panose="02020603050405020304" pitchFamily="18" charset="0"/>
              </a:rPr>
              <a:t>sostenibilità</a:t>
            </a:r>
            <a:endParaRPr lang="it-IT" sz="2000" dirty="0">
              <a:effectLst/>
              <a:latin typeface="Univers Condensed" panose="020B0506020202050204" pitchFamily="34" charset="0"/>
              <a:ea typeface="Times New Roman" panose="02020603050405020304" pitchFamily="18" charset="0"/>
            </a:endParaRPr>
          </a:p>
        </p:txBody>
      </p:sp>
      <p:pic>
        <p:nvPicPr>
          <p:cNvPr id="33" name="Elemento grafico 32" descr="Lampadina e ingranaggio con riempimento a tinta unita">
            <a:extLst>
              <a:ext uri="{FF2B5EF4-FFF2-40B4-BE49-F238E27FC236}">
                <a16:creationId xmlns:a16="http://schemas.microsoft.com/office/drawing/2014/main" id="{DF0D07B9-24A9-BC77-2A04-250320B9495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79300" y="1546293"/>
            <a:ext cx="387001" cy="387001"/>
          </a:xfrm>
          <a:prstGeom prst="rect">
            <a:avLst/>
          </a:prstGeom>
        </p:spPr>
      </p:pic>
      <p:pic>
        <p:nvPicPr>
          <p:cNvPr id="35" name="Elemento grafico 34" descr="Pianta con riempimento a tinta unita">
            <a:extLst>
              <a:ext uri="{FF2B5EF4-FFF2-40B4-BE49-F238E27FC236}">
                <a16:creationId xmlns:a16="http://schemas.microsoft.com/office/drawing/2014/main" id="{0FC86341-0024-E043-219D-ECE1D854E56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36180" y="1751420"/>
            <a:ext cx="387001" cy="387001"/>
          </a:xfrm>
          <a:prstGeom prst="rect">
            <a:avLst/>
          </a:prstGeom>
        </p:spPr>
      </p:pic>
      <p:pic>
        <p:nvPicPr>
          <p:cNvPr id="36" name="shutterstock_1785478235.jpg" descr="shutterstock_1785478235.jpg">
            <a:extLst>
              <a:ext uri="{FF2B5EF4-FFF2-40B4-BE49-F238E27FC236}">
                <a16:creationId xmlns:a16="http://schemas.microsoft.com/office/drawing/2014/main" id="{E6F854AF-4739-69A5-811B-446D1B474B73}"/>
              </a:ext>
            </a:extLst>
          </p:cNvPr>
          <p:cNvPicPr>
            <a:picLocks noChangeAspect="1"/>
          </p:cNvPicPr>
          <p:nvPr/>
        </p:nvPicPr>
        <p:blipFill>
          <a:blip r:embed="rId6"/>
          <a:srcRect l="15799" r="48698"/>
          <a:stretch>
            <a:fillRect/>
          </a:stretch>
        </p:blipFill>
        <p:spPr>
          <a:xfrm>
            <a:off x="656112" y="1644124"/>
            <a:ext cx="1250983" cy="1982081"/>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effectLst>
        </p:spPr>
      </p:pic>
      <p:pic>
        <p:nvPicPr>
          <p:cNvPr id="5" name="Elemento grafico 4" descr="Monete con riempimento a tinta unita">
            <a:extLst>
              <a:ext uri="{FF2B5EF4-FFF2-40B4-BE49-F238E27FC236}">
                <a16:creationId xmlns:a16="http://schemas.microsoft.com/office/drawing/2014/main" id="{85132E6B-876F-F1AC-38C6-5B7A7B79BE4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284063" y="2353197"/>
            <a:ext cx="543536" cy="543536"/>
          </a:xfrm>
          <a:prstGeom prst="rect">
            <a:avLst/>
          </a:prstGeom>
        </p:spPr>
      </p:pic>
      <p:sp>
        <p:nvSpPr>
          <p:cNvPr id="3" name="CasellaDiTesto 2">
            <a:extLst>
              <a:ext uri="{FF2B5EF4-FFF2-40B4-BE49-F238E27FC236}">
                <a16:creationId xmlns:a16="http://schemas.microsoft.com/office/drawing/2014/main" id="{D67754B5-60E0-4747-2CED-C89CC5F03DDE}"/>
              </a:ext>
            </a:extLst>
          </p:cNvPr>
          <p:cNvSpPr txBox="1"/>
          <p:nvPr/>
        </p:nvSpPr>
        <p:spPr>
          <a:xfrm>
            <a:off x="2879365" y="3027720"/>
            <a:ext cx="3273259" cy="1323439"/>
          </a:xfrm>
          <a:prstGeom prst="rect">
            <a:avLst/>
          </a:prstGeom>
          <a:noFill/>
        </p:spPr>
        <p:txBody>
          <a:bodyPr wrap="square">
            <a:spAutoFit/>
          </a:bodyPr>
          <a:lstStyle/>
          <a:p>
            <a:r>
              <a:rPr lang="it-IT" sz="2000" dirty="0">
                <a:latin typeface="Univers Condensed" panose="020B0506020202050204" pitchFamily="34" charset="0"/>
                <a:ea typeface="Times New Roman" panose="02020603050405020304" pitchFamily="18" charset="0"/>
              </a:rPr>
              <a:t>condizioni dedicate per </a:t>
            </a:r>
            <a:r>
              <a:rPr lang="it-IT" sz="2000" b="1" dirty="0">
                <a:latin typeface="Univers Condensed" panose="020B0506020202050204" pitchFamily="34" charset="0"/>
                <a:ea typeface="Times New Roman" panose="02020603050405020304" pitchFamily="18" charset="0"/>
              </a:rPr>
              <a:t>energivore</a:t>
            </a:r>
            <a:r>
              <a:rPr lang="it-IT" sz="2000" dirty="0">
                <a:latin typeface="Univers Condensed" panose="020B0506020202050204" pitchFamily="34" charset="0"/>
                <a:ea typeface="Times New Roman" panose="02020603050405020304" pitchFamily="18" charset="0"/>
              </a:rPr>
              <a:t> </a:t>
            </a:r>
            <a:r>
              <a:rPr lang="it-IT" sz="1600" dirty="0">
                <a:solidFill>
                  <a:schemeClr val="accent3"/>
                </a:solidFill>
                <a:latin typeface="Univers Condensed" panose="020B0506020202050204" pitchFamily="34" charset="0"/>
                <a:ea typeface="Times New Roman" panose="02020603050405020304" pitchFamily="18" charset="0"/>
              </a:rPr>
              <a:t>(fondo perduto 20% ed esenzione garanzie) </a:t>
            </a:r>
            <a:r>
              <a:rPr lang="it-IT" sz="2000" dirty="0">
                <a:latin typeface="Univers Condensed" panose="020B0506020202050204" pitchFamily="34" charset="0"/>
              </a:rPr>
              <a:t>e </a:t>
            </a:r>
            <a:r>
              <a:rPr lang="it-IT" sz="2000" b="1" dirty="0">
                <a:latin typeface="Univers Condensed" panose="020B0506020202050204" pitchFamily="34" charset="0"/>
              </a:rPr>
              <a:t>imprese con interessi in USA</a:t>
            </a:r>
            <a:endParaRPr lang="it-IT" sz="1600" dirty="0">
              <a:solidFill>
                <a:schemeClr val="accent3"/>
              </a:solidFill>
              <a:latin typeface="Univers Condensed" panose="020B0506020202050204" pitchFamily="34" charset="0"/>
            </a:endParaRPr>
          </a:p>
        </p:txBody>
      </p:sp>
      <p:pic>
        <p:nvPicPr>
          <p:cNvPr id="7" name="Elemento grafico 6" descr="Energia rinnovabile con riempimento a tinta unita">
            <a:extLst>
              <a:ext uri="{FF2B5EF4-FFF2-40B4-BE49-F238E27FC236}">
                <a16:creationId xmlns:a16="http://schemas.microsoft.com/office/drawing/2014/main" id="{6EB17BF9-18F2-7B56-183C-806025F180D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297856" y="3173939"/>
            <a:ext cx="518165" cy="518165"/>
          </a:xfrm>
          <a:prstGeom prst="rect">
            <a:avLst/>
          </a:prstGeom>
        </p:spPr>
      </p:pic>
    </p:spTree>
    <p:extLst>
      <p:ext uri="{BB962C8B-B14F-4D97-AF65-F5344CB8AC3E}">
        <p14:creationId xmlns:p14="http://schemas.microsoft.com/office/powerpoint/2010/main" val="16903100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60BE09-4122-CEAA-34EC-2383208E67FD}"/>
            </a:ext>
          </a:extLst>
        </p:cNvPr>
        <p:cNvGrpSpPr/>
        <p:nvPr/>
      </p:nvGrpSpPr>
      <p:grpSpPr>
        <a:xfrm>
          <a:off x="0" y="0"/>
          <a:ext cx="0" cy="0"/>
          <a:chOff x="0" y="0"/>
          <a:chExt cx="0" cy="0"/>
        </a:xfrm>
      </p:grpSpPr>
      <p:pic>
        <p:nvPicPr>
          <p:cNvPr id="28" name="Immagine 27" descr="Vista aerea di Manhattan">
            <a:extLst>
              <a:ext uri="{FF2B5EF4-FFF2-40B4-BE49-F238E27FC236}">
                <a16:creationId xmlns:a16="http://schemas.microsoft.com/office/drawing/2014/main" id="{B90B3B26-2AE2-9396-38C9-A6CB15698525}"/>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904922" y="-37460"/>
            <a:ext cx="10288152" cy="6858000"/>
          </a:xfrm>
          <a:prstGeom prst="rect">
            <a:avLst/>
          </a:prstGeom>
        </p:spPr>
      </p:pic>
      <p:sp>
        <p:nvSpPr>
          <p:cNvPr id="4" name="Segnaposto numero diapositiva 3">
            <a:extLst>
              <a:ext uri="{FF2B5EF4-FFF2-40B4-BE49-F238E27FC236}">
                <a16:creationId xmlns:a16="http://schemas.microsoft.com/office/drawing/2014/main" id="{4F25DEC2-5A32-E585-3C64-4FE5327843DA}"/>
              </a:ext>
            </a:extLst>
          </p:cNvPr>
          <p:cNvSpPr>
            <a:spLocks noGrp="1"/>
          </p:cNvSpPr>
          <p:nvPr>
            <p:ph type="sldNum" sz="quarter" idx="7"/>
          </p:nvPr>
        </p:nvSpPr>
        <p:spPr/>
        <p:txBody>
          <a:bodyPr/>
          <a:lstStyle/>
          <a:p>
            <a:pPr marL="23103" marR="0" lvl="0" indent="0" algn="l" defTabSz="914400" rtl="0" eaLnBrk="1" fontAlgn="auto" latinLnBrk="0" hangingPunct="1">
              <a:lnSpc>
                <a:spcPts val="1440"/>
              </a:lnSpc>
              <a:spcBef>
                <a:spcPts val="0"/>
              </a:spcBef>
              <a:spcAft>
                <a:spcPts val="0"/>
              </a:spcAft>
              <a:buClrTx/>
              <a:buSzTx/>
              <a:buFontTx/>
              <a:buNone/>
              <a:tabLst/>
              <a:defRPr/>
            </a:pPr>
            <a:fld id="{81D60167-4931-47E6-BA6A-407CBD079E47}" type="slidenum">
              <a:rPr kumimoji="0" lang="it-IT" sz="1200" b="0" i="0" u="none" strike="noStrike" kern="1200" cap="none" spc="-31"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23103" marR="0" lvl="0" indent="0" algn="l" defTabSz="914400" rtl="0" eaLnBrk="1" fontAlgn="auto" latinLnBrk="0" hangingPunct="1">
                <a:lnSpc>
                  <a:spcPts val="1440"/>
                </a:lnSpc>
                <a:spcBef>
                  <a:spcPts val="0"/>
                </a:spcBef>
                <a:spcAft>
                  <a:spcPts val="0"/>
                </a:spcAft>
                <a:buClrTx/>
                <a:buSzTx/>
                <a:buFontTx/>
                <a:buNone/>
                <a:tabLst/>
                <a:defRPr/>
              </a:pPr>
              <a:t>5</a:t>
            </a:fld>
            <a:endParaRPr kumimoji="0" lang="it-IT" sz="1200" b="0" i="0" u="none" strike="noStrike" kern="1200" cap="none" spc="-31"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 name="Rettangolo 5">
            <a:extLst>
              <a:ext uri="{FF2B5EF4-FFF2-40B4-BE49-F238E27FC236}">
                <a16:creationId xmlns:a16="http://schemas.microsoft.com/office/drawing/2014/main" id="{90F2F2FA-FD7E-C421-DB7B-DA5CD0776D80}"/>
              </a:ext>
            </a:extLst>
          </p:cNvPr>
          <p:cNvSpPr/>
          <p:nvPr/>
        </p:nvSpPr>
        <p:spPr>
          <a:xfrm>
            <a:off x="-31324" y="-37460"/>
            <a:ext cx="6490775" cy="6895460"/>
          </a:xfrm>
          <a:prstGeom prst="rect">
            <a:avLst/>
          </a:prstGeom>
          <a:gradFill flip="none" rotWithShape="1">
            <a:gsLst>
              <a:gs pos="20000">
                <a:schemeClr val="bg1">
                  <a:lumMod val="0"/>
                  <a:lumOff val="100000"/>
                </a:schemeClr>
              </a:gs>
              <a:gs pos="0">
                <a:schemeClr val="bg1">
                  <a:alpha val="0"/>
                </a:schemeClr>
              </a:gs>
            </a:gsLst>
            <a:lin ang="108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5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sym typeface="Helvetica Neue Medium"/>
            </a:endParaRPr>
          </a:p>
        </p:txBody>
      </p:sp>
      <p:sp>
        <p:nvSpPr>
          <p:cNvPr id="7" name="Rettangolo 6">
            <a:extLst>
              <a:ext uri="{FF2B5EF4-FFF2-40B4-BE49-F238E27FC236}">
                <a16:creationId xmlns:a16="http://schemas.microsoft.com/office/drawing/2014/main" id="{37A45D55-9A4B-731C-E102-3A7A8CECD30B}"/>
              </a:ext>
            </a:extLst>
          </p:cNvPr>
          <p:cNvSpPr/>
          <p:nvPr/>
        </p:nvSpPr>
        <p:spPr>
          <a:xfrm>
            <a:off x="257665" y="383357"/>
            <a:ext cx="1162640" cy="6661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Univers Condensed" panose="020B0506020202050204" pitchFamily="34" charset="0"/>
              <a:ea typeface="+mn-ea"/>
              <a:cs typeface="Arial" panose="020B0604020202020204" pitchFamily="34" charset="0"/>
            </a:endParaRPr>
          </a:p>
        </p:txBody>
      </p:sp>
      <p:sp>
        <p:nvSpPr>
          <p:cNvPr id="8" name="Rettangolo 7">
            <a:extLst>
              <a:ext uri="{FF2B5EF4-FFF2-40B4-BE49-F238E27FC236}">
                <a16:creationId xmlns:a16="http://schemas.microsoft.com/office/drawing/2014/main" id="{CEB00486-F5DB-157E-BEA1-27D8F7A5915A}"/>
              </a:ext>
            </a:extLst>
          </p:cNvPr>
          <p:cNvSpPr/>
          <p:nvPr/>
        </p:nvSpPr>
        <p:spPr>
          <a:xfrm>
            <a:off x="462" y="335136"/>
            <a:ext cx="4646842" cy="647626"/>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Arial" panose="020B0604020202020204" pitchFamily="34" charset="0"/>
              <a:sym typeface="Helvetica Neue Medium"/>
            </a:endParaRPr>
          </a:p>
        </p:txBody>
      </p:sp>
      <p:sp>
        <p:nvSpPr>
          <p:cNvPr id="9" name="Segnaposto testo 1">
            <a:extLst>
              <a:ext uri="{FF2B5EF4-FFF2-40B4-BE49-F238E27FC236}">
                <a16:creationId xmlns:a16="http://schemas.microsoft.com/office/drawing/2014/main" id="{81B73784-6760-7276-315B-254811DE8C93}"/>
              </a:ext>
            </a:extLst>
          </p:cNvPr>
          <p:cNvSpPr txBox="1">
            <a:spLocks/>
          </p:cNvSpPr>
          <p:nvPr/>
        </p:nvSpPr>
        <p:spPr>
          <a:xfrm>
            <a:off x="257664" y="510413"/>
            <a:ext cx="11969939" cy="383116"/>
          </a:xfrm>
          <a:prstGeom prst="rect">
            <a:avLst/>
          </a:prstGeom>
        </p:spPr>
        <p:txBody>
          <a:bodyPr vert="horz" lIns="0" tIns="0" rIns="0" bIns="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18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892" indent="0" algn="l" defTabSz="685800" rtl="0" eaLnBrk="1" latinLnBrk="0" hangingPunct="1">
              <a:lnSpc>
                <a:spcPct val="90000"/>
              </a:lnSpc>
              <a:spcBef>
                <a:spcPts val="375"/>
              </a:spcBef>
              <a:buFont typeface="Arial" panose="020B0604020202020204" pitchFamily="34" charset="0"/>
              <a:buNone/>
              <a:defRPr sz="1500" b="0" i="0" kern="1200">
                <a:solidFill>
                  <a:schemeClr val="tx1">
                    <a:tint val="75000"/>
                  </a:schemeClr>
                </a:solidFill>
                <a:latin typeface="Arial" panose="020B0604020202020204" pitchFamily="34" charset="0"/>
                <a:ea typeface="+mn-ea"/>
                <a:cs typeface="Arial" panose="020B0604020202020204" pitchFamily="34" charset="0"/>
              </a:defRPr>
            </a:lvl2pPr>
            <a:lvl3pPr marL="685783" indent="0" algn="l" defTabSz="685800" rtl="0" eaLnBrk="1" latinLnBrk="0" hangingPunct="1">
              <a:lnSpc>
                <a:spcPct val="90000"/>
              </a:lnSpc>
              <a:spcBef>
                <a:spcPts val="375"/>
              </a:spcBef>
              <a:buFont typeface="Arial" panose="020B0604020202020204" pitchFamily="34" charset="0"/>
              <a:buNone/>
              <a:defRPr sz="1350" b="0" i="0" kern="1200">
                <a:solidFill>
                  <a:schemeClr val="tx1">
                    <a:tint val="75000"/>
                  </a:schemeClr>
                </a:solidFill>
                <a:latin typeface="Arial" panose="020B0604020202020204" pitchFamily="34" charset="0"/>
                <a:ea typeface="+mn-ea"/>
                <a:cs typeface="Arial" panose="020B0604020202020204" pitchFamily="34" charset="0"/>
              </a:defRPr>
            </a:lvl3pPr>
            <a:lvl4pPr marL="1028675"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4pPr>
            <a:lvl5pPr marL="1371566"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5pPr>
            <a:lvl6pPr marL="1714457"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348"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24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132"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2400" b="1" i="0" u="none" strike="noStrike" kern="100" cap="none" spc="0" normalizeH="0" baseline="0" noProof="0" dirty="0">
                <a:ln>
                  <a:noFill/>
                </a:ln>
                <a:solidFill>
                  <a:srgbClr val="415064"/>
                </a:solidFill>
                <a:effectLst/>
                <a:uLnTx/>
                <a:uFillTx/>
                <a:latin typeface="Univers Condensed" panose="020B0506020202050204" pitchFamily="34" charset="0"/>
                <a:cs typeface="Arial" panose="020B0604020202020204" pitchFamily="34" charset="0"/>
              </a:rPr>
              <a:t>Focus «Misura USA»</a:t>
            </a:r>
          </a:p>
        </p:txBody>
      </p:sp>
      <p:sp>
        <p:nvSpPr>
          <p:cNvPr id="16" name="Rettangolo 15">
            <a:extLst>
              <a:ext uri="{FF2B5EF4-FFF2-40B4-BE49-F238E27FC236}">
                <a16:creationId xmlns:a16="http://schemas.microsoft.com/office/drawing/2014/main" id="{CEEBC52A-CBB5-6A3F-5F0C-90C21814F6FE}"/>
              </a:ext>
            </a:extLst>
          </p:cNvPr>
          <p:cNvSpPr/>
          <p:nvPr/>
        </p:nvSpPr>
        <p:spPr>
          <a:xfrm>
            <a:off x="626395" y="4844556"/>
            <a:ext cx="11308808" cy="934480"/>
          </a:xfrm>
          <a:prstGeom prst="rect">
            <a:avLst/>
          </a:prstGeom>
          <a:solidFill>
            <a:srgbClr val="FFFEFD"/>
          </a:solidFill>
          <a:ln w="19050" cap="flat" cmpd="sng" algn="ctr">
            <a:solidFill>
              <a:srgbClr val="415364">
                <a:lumMod val="20000"/>
                <a:lumOff val="80000"/>
              </a:srgbClr>
            </a:solidFill>
            <a:prstDash val="solid"/>
            <a:miter lim="800000"/>
          </a:ln>
          <a:effectLst/>
        </p:spPr>
        <p:txBody>
          <a:bodyPr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rgbClr val="FFFEFD"/>
              </a:solidFill>
              <a:effectLst/>
              <a:uLnTx/>
              <a:uFillTx/>
              <a:latin typeface="Univers Condensed" panose="020B0506020202050204" pitchFamily="34" charset="0"/>
              <a:ea typeface="+mn-ea"/>
              <a:cs typeface="Arial" panose="020B0604020202020204" pitchFamily="34" charset="0"/>
            </a:endParaRPr>
          </a:p>
        </p:txBody>
      </p:sp>
      <p:sp>
        <p:nvSpPr>
          <p:cNvPr id="19" name="Rettangolo 18">
            <a:extLst>
              <a:ext uri="{FF2B5EF4-FFF2-40B4-BE49-F238E27FC236}">
                <a16:creationId xmlns:a16="http://schemas.microsoft.com/office/drawing/2014/main" id="{F65A189C-A2A7-7F16-DA3E-51A63E885141}"/>
              </a:ext>
            </a:extLst>
          </p:cNvPr>
          <p:cNvSpPr/>
          <p:nvPr/>
        </p:nvSpPr>
        <p:spPr>
          <a:xfrm>
            <a:off x="1322476" y="4681749"/>
            <a:ext cx="3166455" cy="261346"/>
          </a:xfrm>
          <a:prstGeom prst="rect">
            <a:avLst/>
          </a:prstGeom>
          <a:solidFill>
            <a:srgbClr val="FFFEFD"/>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Univers Condensed" panose="020B0506020202050204" pitchFamily="34" charset="0"/>
                <a:ea typeface="+mn-ea"/>
                <a:cs typeface="Arial" panose="020B0604020202020204" pitchFamily="34" charset="0"/>
              </a:rPr>
              <a:t>  IMPRESE BENEFICIARIE</a:t>
            </a:r>
          </a:p>
        </p:txBody>
      </p:sp>
      <p:pic>
        <p:nvPicPr>
          <p:cNvPr id="22" name="Immagine 21">
            <a:extLst>
              <a:ext uri="{FF2B5EF4-FFF2-40B4-BE49-F238E27FC236}">
                <a16:creationId xmlns:a16="http://schemas.microsoft.com/office/drawing/2014/main" id="{DAE4F3E1-960C-6DE5-17C1-44561E1A80BD}"/>
              </a:ext>
            </a:extLst>
          </p:cNvPr>
          <p:cNvPicPr>
            <a:picLocks noChangeAspect="1"/>
          </p:cNvPicPr>
          <p:nvPr/>
        </p:nvPicPr>
        <p:blipFill>
          <a:blip r:embed="rId3" cstate="screen">
            <a:duotone>
              <a:srgbClr val="5F85B1">
                <a:shade val="45000"/>
                <a:satMod val="135000"/>
              </a:srgbClr>
              <a:prstClr val="white"/>
            </a:duotone>
            <a:extLst>
              <a:ext uri="{28A0092B-C50C-407E-A947-70E740481C1C}">
                <a14:useLocalDpi xmlns:a14="http://schemas.microsoft.com/office/drawing/2010/main" val="0"/>
              </a:ext>
            </a:extLst>
          </a:blip>
          <a:stretch>
            <a:fillRect/>
          </a:stretch>
        </p:blipFill>
        <p:spPr>
          <a:xfrm rot="5400000">
            <a:off x="884541" y="4524878"/>
            <a:ext cx="535764" cy="535764"/>
          </a:xfrm>
          <a:prstGeom prst="rect">
            <a:avLst/>
          </a:prstGeom>
          <a:solidFill>
            <a:srgbClr val="FFFEFD"/>
          </a:solidFill>
        </p:spPr>
      </p:pic>
      <p:sp>
        <p:nvSpPr>
          <p:cNvPr id="25" name="CasellaDiTesto 32">
            <a:extLst>
              <a:ext uri="{FF2B5EF4-FFF2-40B4-BE49-F238E27FC236}">
                <a16:creationId xmlns:a16="http://schemas.microsoft.com/office/drawing/2014/main" id="{81AAC0DC-666F-7C00-0BCB-952E9E8F175D}"/>
              </a:ext>
            </a:extLst>
          </p:cNvPr>
          <p:cNvSpPr txBox="1">
            <a:spLocks noChangeArrowheads="1"/>
          </p:cNvSpPr>
          <p:nvPr/>
        </p:nvSpPr>
        <p:spPr bwMode="auto">
          <a:xfrm>
            <a:off x="755542" y="4948164"/>
            <a:ext cx="397026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Arial" panose="020B0604020202020204" pitchFamily="34" charset="0"/>
              </a:rPr>
              <a:t>Per le imprese esportatici </a:t>
            </a:r>
            <a:r>
              <a:rPr kumimoji="0" lang="it-IT" altLang="it-IT" sz="14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Arial" panose="020B0604020202020204" pitchFamily="34" charset="0"/>
              </a:rPr>
              <a:t>con </a:t>
            </a:r>
            <a:r>
              <a:rPr kumimoji="0" lang="it-IT" altLang="it-IT" sz="1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Arial" panose="020B0604020202020204" pitchFamily="34" charset="0"/>
              </a:rPr>
              <a:t>export, import</a:t>
            </a:r>
            <a:r>
              <a:rPr kumimoji="0" lang="it-IT" altLang="it-IT" sz="14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Arial" panose="020B0604020202020204" pitchFamily="34" charset="0"/>
              </a:rPr>
              <a:t> o</a:t>
            </a:r>
            <a:r>
              <a:rPr kumimoji="0" lang="it-IT" altLang="it-IT" sz="14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Arial" panose="020B0604020202020204" pitchFamily="34" charset="0"/>
              </a:rPr>
              <a:t> </a:t>
            </a:r>
            <a:r>
              <a:rPr kumimoji="0" lang="it-IT" altLang="it-IT" sz="1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Arial" panose="020B0604020202020204" pitchFamily="34" charset="0"/>
              </a:rPr>
              <a:t>presenza negli USA</a:t>
            </a:r>
            <a:endParaRPr kumimoji="0" lang="it-IT" altLang="it-IT" sz="1400" b="1" i="0" u="none" strike="sngStrike" kern="1200" cap="none" spc="0" normalizeH="0" baseline="0" noProof="0" dirty="0">
              <a:ln>
                <a:noFill/>
              </a:ln>
              <a:solidFill>
                <a:srgbClr val="FF0000"/>
              </a:solidFill>
              <a:effectLst/>
              <a:highlight>
                <a:srgbClr val="FFFF00"/>
              </a:highlight>
              <a:uLnTx/>
              <a:uFillTx/>
              <a:latin typeface="Univers Condensed" panose="020B0506020202050204" pitchFamily="34" charset="0"/>
              <a:ea typeface="+mn-ea"/>
              <a:cs typeface="Arial" panose="020B0604020202020204" pitchFamily="34" charset="0"/>
            </a:endParaRPr>
          </a:p>
        </p:txBody>
      </p:sp>
      <p:sp>
        <p:nvSpPr>
          <p:cNvPr id="26" name="CasellaDiTesto 32">
            <a:extLst>
              <a:ext uri="{FF2B5EF4-FFF2-40B4-BE49-F238E27FC236}">
                <a16:creationId xmlns:a16="http://schemas.microsoft.com/office/drawing/2014/main" id="{D4C8AADA-5AC9-D4D6-D52C-915198D27044}"/>
              </a:ext>
            </a:extLst>
          </p:cNvPr>
          <p:cNvSpPr txBox="1">
            <a:spLocks noChangeArrowheads="1"/>
          </p:cNvSpPr>
          <p:nvPr/>
        </p:nvSpPr>
        <p:spPr bwMode="auto">
          <a:xfrm>
            <a:off x="7944850" y="4941793"/>
            <a:ext cx="390360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342900" indent="-342900">
              <a:defRPr>
                <a:latin typeface="Arial" panose="020B0604020202020204" pitchFamily="34" charset="0"/>
              </a:defRPr>
            </a:lvl1pPr>
            <a:lvl2pPr marL="0" lvl="1" algn="ctr">
              <a:defRPr sz="1100" b="1">
                <a:solidFill>
                  <a:srgbClr val="415364"/>
                </a:solidFill>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Arial" panose="020B0604020202020204" pitchFamily="34" charset="0"/>
              </a:rPr>
              <a:t>Per le imprese </a:t>
            </a:r>
            <a:r>
              <a:rPr kumimoji="0" lang="it-IT" altLang="it-IT" sz="14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Arial" panose="020B0604020202020204" pitchFamily="34" charset="0"/>
              </a:rPr>
              <a:t>che richiedono finanziamenti </a:t>
            </a:r>
            <a:r>
              <a:rPr kumimoji="0" lang="it-IT" altLang="it-IT" sz="1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Arial" panose="020B0604020202020204" pitchFamily="34" charset="0"/>
              </a:rPr>
              <a:t>con focus USA</a:t>
            </a:r>
          </a:p>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000" b="0" i="1" u="none" strike="noStrike" kern="1200" cap="none" spc="0" normalizeH="0" baseline="0" noProof="0" dirty="0">
                <a:ln>
                  <a:noFill/>
                </a:ln>
                <a:solidFill>
                  <a:srgbClr val="415364"/>
                </a:solidFill>
                <a:effectLst/>
                <a:uLnTx/>
                <a:uFillTx/>
                <a:latin typeface="Univers Condensed" panose="020B0506020202050204" pitchFamily="34" charset="0"/>
                <a:ea typeface="+mn-ea"/>
                <a:cs typeface="Arial" panose="020B0604020202020204" pitchFamily="34" charset="0"/>
              </a:rPr>
              <a:t>Inserimento Mercati, Certificazioni e Consulenze, Fiere ed Eventi, </a:t>
            </a:r>
          </a:p>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000" b="0" i="1" u="none" strike="noStrike" kern="1200" cap="none" spc="0" normalizeH="0" baseline="0" noProof="0" dirty="0">
                <a:ln>
                  <a:noFill/>
                </a:ln>
                <a:solidFill>
                  <a:srgbClr val="415364"/>
                </a:solidFill>
                <a:effectLst/>
                <a:uLnTx/>
                <a:uFillTx/>
                <a:latin typeface="Univers Condensed" panose="020B0506020202050204" pitchFamily="34" charset="0"/>
                <a:ea typeface="+mn-ea"/>
                <a:cs typeface="Arial" panose="020B0604020202020204" pitchFamily="34" charset="0"/>
              </a:rPr>
              <a:t>E-commerce, </a:t>
            </a:r>
            <a:r>
              <a:rPr kumimoji="0" lang="it-IT" altLang="it-IT" sz="1000" b="0" i="1" u="none" strike="noStrike" kern="1200" cap="none" spc="0" normalizeH="0" baseline="0" noProof="0" dirty="0" err="1">
                <a:ln>
                  <a:noFill/>
                </a:ln>
                <a:solidFill>
                  <a:srgbClr val="415364"/>
                </a:solidFill>
                <a:effectLst/>
                <a:uLnTx/>
                <a:uFillTx/>
                <a:latin typeface="Univers Condensed" panose="020B0506020202050204" pitchFamily="34" charset="0"/>
                <a:ea typeface="+mn-ea"/>
                <a:cs typeface="Arial" panose="020B0604020202020204" pitchFamily="34" charset="0"/>
              </a:rPr>
              <a:t>Temporary</a:t>
            </a:r>
            <a:r>
              <a:rPr kumimoji="0" lang="it-IT" altLang="it-IT" sz="1000" b="0" i="1" u="none" strike="noStrike" kern="1200" cap="none" spc="0" normalizeH="0" baseline="0" noProof="0" dirty="0">
                <a:ln>
                  <a:noFill/>
                </a:ln>
                <a:solidFill>
                  <a:srgbClr val="415364"/>
                </a:solidFill>
                <a:effectLst/>
                <a:uLnTx/>
                <a:uFillTx/>
                <a:latin typeface="Univers Condensed" panose="020B0506020202050204" pitchFamily="34" charset="0"/>
                <a:ea typeface="+mn-ea"/>
                <a:cs typeface="Arial" panose="020B0604020202020204" pitchFamily="34" charset="0"/>
              </a:rPr>
              <a:t> Manager</a:t>
            </a:r>
          </a:p>
        </p:txBody>
      </p:sp>
      <p:sp>
        <p:nvSpPr>
          <p:cNvPr id="2" name="CasellaDiTesto 32">
            <a:extLst>
              <a:ext uri="{FF2B5EF4-FFF2-40B4-BE49-F238E27FC236}">
                <a16:creationId xmlns:a16="http://schemas.microsoft.com/office/drawing/2014/main" id="{4C26CB52-AB9D-BFFB-95D0-3C6A00725D88}"/>
              </a:ext>
            </a:extLst>
          </p:cNvPr>
          <p:cNvSpPr txBox="1">
            <a:spLocks noChangeArrowheads="1"/>
          </p:cNvSpPr>
          <p:nvPr/>
        </p:nvSpPr>
        <p:spPr bwMode="auto">
          <a:xfrm>
            <a:off x="4795120" y="4993752"/>
            <a:ext cx="327559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Arial" panose="020B0604020202020204" pitchFamily="34" charset="0"/>
              </a:rPr>
              <a:t>Per le imprese </a:t>
            </a:r>
            <a:r>
              <a:rPr kumimoji="0" lang="it-IT" altLang="it-IT" sz="1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Arial" panose="020B0604020202020204" pitchFamily="34" charset="0"/>
              </a:rPr>
              <a:t>che intendono investire in loco</a:t>
            </a:r>
          </a:p>
        </p:txBody>
      </p:sp>
      <p:sp>
        <p:nvSpPr>
          <p:cNvPr id="15" name="Segnaposto numero diapositiva 3">
            <a:extLst>
              <a:ext uri="{FF2B5EF4-FFF2-40B4-BE49-F238E27FC236}">
                <a16:creationId xmlns:a16="http://schemas.microsoft.com/office/drawing/2014/main" id="{2EB158F3-C6E9-3CFE-1E9D-D3E34B6EB414}"/>
              </a:ext>
            </a:extLst>
          </p:cNvPr>
          <p:cNvSpPr txBox="1">
            <a:spLocks/>
          </p:cNvSpPr>
          <p:nvPr/>
        </p:nvSpPr>
        <p:spPr>
          <a:xfrm>
            <a:off x="279114" y="6425845"/>
            <a:ext cx="1344083" cy="244916"/>
          </a:xfrm>
          <a:prstGeom prst="rect">
            <a:avLst/>
          </a:prstGeom>
        </p:spPr>
        <p:txBody>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
        <p:nvSpPr>
          <p:cNvPr id="31" name="Segnaposto numero diapositiva 3">
            <a:extLst>
              <a:ext uri="{FF2B5EF4-FFF2-40B4-BE49-F238E27FC236}">
                <a16:creationId xmlns:a16="http://schemas.microsoft.com/office/drawing/2014/main" id="{D6EAE8CD-31E3-7C14-952A-E41B0187EB5B}"/>
              </a:ext>
            </a:extLst>
          </p:cNvPr>
          <p:cNvSpPr txBox="1">
            <a:spLocks/>
          </p:cNvSpPr>
          <p:nvPr/>
        </p:nvSpPr>
        <p:spPr>
          <a:xfrm>
            <a:off x="8610600" y="6259531"/>
            <a:ext cx="2743200" cy="179536"/>
          </a:xfrm>
          <a:prstGeom prst="rect">
            <a:avLst/>
          </a:prstGeom>
        </p:spPr>
        <p:txBody>
          <a:bodyPr wrap="square" lIns="0" tIns="0" rIns="0" bIns="0">
            <a:spAutoFit/>
          </a:bodyPr>
          <a:lstStyle>
            <a:defPPr>
              <a:defRPr lang="it-IT"/>
            </a:defPPr>
            <a:lvl1pPr marL="0" algn="l" defTabSz="914400" rtl="0" eaLnBrk="1" latinLnBrk="0" hangingPunct="1">
              <a:defRPr sz="1243" b="0" i="0" kern="1200">
                <a:solidFill>
                  <a:schemeClr val="tx1"/>
                </a:solidFill>
                <a:latin typeface="Univers Condensed" panose="020B0506020202050204" pitchFamily="34" charset="0"/>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3103" marR="0" lvl="0" indent="0" algn="l" defTabSz="914400" rtl="0" eaLnBrk="1" fontAlgn="auto" latinLnBrk="0" hangingPunct="1">
              <a:lnSpc>
                <a:spcPts val="1440"/>
              </a:lnSpc>
              <a:spcBef>
                <a:spcPts val="0"/>
              </a:spcBef>
              <a:spcAft>
                <a:spcPts val="0"/>
              </a:spcAft>
              <a:buClrTx/>
              <a:buSzTx/>
              <a:buFontTx/>
              <a:buNone/>
              <a:tabLst/>
              <a:defRPr/>
            </a:pPr>
            <a:fld id="{81D60167-4931-47E6-BA6A-407CBD079E47}" type="slidenum">
              <a:rPr kumimoji="0" lang="it-IT" sz="1200" b="0" i="0" u="none" strike="noStrike" kern="1200" cap="none" spc="-31" normalizeH="0" baseline="0" noProof="0" smtClean="0">
                <a:ln>
                  <a:noFill/>
                </a:ln>
                <a:solidFill>
                  <a:srgbClr val="FFFFFF"/>
                </a:solidFill>
                <a:effectLst/>
                <a:uLnTx/>
                <a:uFillTx/>
                <a:latin typeface="Univers Condensed" panose="020B0506020202050204" pitchFamily="34" charset="0"/>
                <a:ea typeface="+mn-ea"/>
                <a:cs typeface="Arial" panose="020B0604020202020204" pitchFamily="34" charset="0"/>
              </a:rPr>
              <a:pPr marL="23103" marR="0" lvl="0" indent="0" algn="l" defTabSz="914400" rtl="0" eaLnBrk="1" fontAlgn="auto" latinLnBrk="0" hangingPunct="1">
                <a:lnSpc>
                  <a:spcPts val="1440"/>
                </a:lnSpc>
                <a:spcBef>
                  <a:spcPts val="0"/>
                </a:spcBef>
                <a:spcAft>
                  <a:spcPts val="0"/>
                </a:spcAft>
                <a:buClrTx/>
                <a:buSzTx/>
                <a:buFontTx/>
                <a:buNone/>
                <a:tabLst/>
                <a:defRPr/>
              </a:pPr>
              <a:t>5</a:t>
            </a:fld>
            <a:endParaRPr kumimoji="0" lang="it-IT" sz="1200" b="0" i="0" u="none" strike="noStrike" kern="1200" cap="none" spc="-31" normalizeH="0" baseline="0" noProof="0" dirty="0">
              <a:ln>
                <a:noFill/>
              </a:ln>
              <a:solidFill>
                <a:srgbClr val="FFFFFF"/>
              </a:solidFill>
              <a:effectLst/>
              <a:uLnTx/>
              <a:uFillTx/>
              <a:latin typeface="Univers Condensed" panose="020B0506020202050204" pitchFamily="34" charset="0"/>
              <a:ea typeface="+mn-ea"/>
              <a:cs typeface="Arial" panose="020B0604020202020204" pitchFamily="34" charset="0"/>
            </a:endParaRPr>
          </a:p>
        </p:txBody>
      </p:sp>
      <p:sp>
        <p:nvSpPr>
          <p:cNvPr id="32" name="Rettangolo 31">
            <a:extLst>
              <a:ext uri="{FF2B5EF4-FFF2-40B4-BE49-F238E27FC236}">
                <a16:creationId xmlns:a16="http://schemas.microsoft.com/office/drawing/2014/main" id="{B5D695BE-C8E4-E0D3-7360-C852094283B9}"/>
              </a:ext>
            </a:extLst>
          </p:cNvPr>
          <p:cNvSpPr/>
          <p:nvPr/>
        </p:nvSpPr>
        <p:spPr>
          <a:xfrm>
            <a:off x="988626" y="5922754"/>
            <a:ext cx="10824191" cy="484179"/>
          </a:xfrm>
          <a:prstGeom prst="rect">
            <a:avLst/>
          </a:prstGeom>
          <a:solidFill>
            <a:schemeClr val="bg1"/>
          </a:solidFill>
          <a:ln w="12700" cap="flat">
            <a:solidFill>
              <a:schemeClr val="accent1">
                <a:lumMod val="20000"/>
                <a:lumOff val="80000"/>
              </a:schemeClr>
            </a:solid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Arial" panose="020B0604020202020204" pitchFamily="34" charset="0"/>
                <a:sym typeface="Helvetica Neue"/>
              </a:rPr>
              <a:t>S</a:t>
            </a:r>
            <a:r>
              <a:rPr kumimoji="0" lang="it-IT" sz="1800" b="1" i="0" u="none" strike="noStrike" kern="1200" cap="none" spc="0" normalizeH="0" baseline="0" noProof="0" dirty="0" err="1">
                <a:ln>
                  <a:noFill/>
                </a:ln>
                <a:solidFill>
                  <a:srgbClr val="415364"/>
                </a:solidFill>
                <a:effectLst/>
                <a:uLnTx/>
                <a:uFillTx/>
                <a:latin typeface="Univers Condensed" panose="020B0506020202050204" pitchFamily="34" charset="0"/>
                <a:ea typeface="+mn-ea"/>
                <a:cs typeface="Arial" panose="020B0604020202020204" pitchFamily="34" charset="0"/>
                <a:sym typeface="Helvetica Neue"/>
              </a:rPr>
              <a:t>ostegno</a:t>
            </a:r>
            <a:r>
              <a:rPr kumimoji="0" lang="it-IT" sz="18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Arial" panose="020B0604020202020204" pitchFamily="34" charset="0"/>
                <a:sym typeface="Helvetica Neue"/>
              </a:rPr>
              <a:t> agli </a:t>
            </a:r>
            <a:r>
              <a:rPr kumimoji="0" lang="it-IT" sz="18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Arial" panose="020B0604020202020204" pitchFamily="34" charset="0"/>
                <a:sym typeface="Helvetica Neue"/>
              </a:rPr>
              <a:t>investimenti diretti </a:t>
            </a:r>
            <a:r>
              <a:rPr kumimoji="0" lang="it-IT" sz="18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Arial" panose="020B0604020202020204" pitchFamily="34" charset="0"/>
                <a:sym typeface="Helvetica Neue"/>
              </a:rPr>
              <a:t>attraverso </a:t>
            </a:r>
            <a:r>
              <a:rPr kumimoji="0" lang="it-IT" sz="18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Arial" panose="020B0604020202020204" pitchFamily="34" charset="0"/>
                <a:sym typeface="Helvetica Neue"/>
              </a:rPr>
              <a:t>Investimenti Partecipativi </a:t>
            </a:r>
            <a:r>
              <a:rPr kumimoji="0" lang="it-IT" sz="18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Arial" panose="020B0604020202020204" pitchFamily="34" charset="0"/>
                <a:sym typeface="Helvetica Neue"/>
              </a:rPr>
              <a:t>ed </a:t>
            </a:r>
            <a:r>
              <a:rPr kumimoji="0" lang="it-IT" sz="18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Arial" panose="020B0604020202020204" pitchFamily="34" charset="0"/>
                <a:sym typeface="Helvetica Neue"/>
              </a:rPr>
              <a:t>Equity per start-up e PMI innovative</a:t>
            </a:r>
          </a:p>
        </p:txBody>
      </p:sp>
      <p:sp>
        <p:nvSpPr>
          <p:cNvPr id="17" name="CasellaDiTesto 16">
            <a:extLst>
              <a:ext uri="{FF2B5EF4-FFF2-40B4-BE49-F238E27FC236}">
                <a16:creationId xmlns:a16="http://schemas.microsoft.com/office/drawing/2014/main" id="{FA3651AF-06BD-3081-E6E2-AF939EA4073B}"/>
              </a:ext>
            </a:extLst>
          </p:cNvPr>
          <p:cNvSpPr txBox="1"/>
          <p:nvPr/>
        </p:nvSpPr>
        <p:spPr>
          <a:xfrm>
            <a:off x="1534356" y="5430174"/>
            <a:ext cx="2219229" cy="272415"/>
          </a:xfrm>
          <a:prstGeom prst="round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1" u="none" strike="noStrike" kern="1200" cap="none" spc="0" normalizeH="0" baseline="0" noProof="0" dirty="0">
                <a:ln>
                  <a:noFill/>
                </a:ln>
                <a:solidFill>
                  <a:srgbClr val="415364"/>
                </a:solidFill>
                <a:effectLst/>
                <a:uLnTx/>
                <a:uFillTx/>
                <a:latin typeface="Univers Condensed" panose="020B0506020202050204" pitchFamily="34" charset="0"/>
                <a:ea typeface="+mn-ea"/>
                <a:cs typeface="Arial" panose="020B0604020202020204" pitchFamily="34" charset="0"/>
              </a:rPr>
              <a:t>Transizione digitale o ecologica</a:t>
            </a:r>
          </a:p>
        </p:txBody>
      </p:sp>
      <p:sp>
        <p:nvSpPr>
          <p:cNvPr id="18" name="CasellaDiTesto 17">
            <a:extLst>
              <a:ext uri="{FF2B5EF4-FFF2-40B4-BE49-F238E27FC236}">
                <a16:creationId xmlns:a16="http://schemas.microsoft.com/office/drawing/2014/main" id="{397BA372-B887-5454-8B99-8C8B2A30BA4C}"/>
              </a:ext>
            </a:extLst>
          </p:cNvPr>
          <p:cNvSpPr txBox="1"/>
          <p:nvPr/>
        </p:nvSpPr>
        <p:spPr>
          <a:xfrm>
            <a:off x="5210424" y="5428614"/>
            <a:ext cx="2219229" cy="272415"/>
          </a:xfrm>
          <a:prstGeom prst="round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1" u="none" strike="noStrike" kern="1200" cap="none" spc="0" normalizeH="0" baseline="0" noProof="0" dirty="0">
                <a:ln>
                  <a:noFill/>
                </a:ln>
                <a:solidFill>
                  <a:srgbClr val="415364"/>
                </a:solidFill>
                <a:effectLst/>
                <a:uLnTx/>
                <a:uFillTx/>
                <a:latin typeface="Univers Condensed" panose="020B0506020202050204" pitchFamily="34" charset="0"/>
                <a:ea typeface="+mn-ea"/>
                <a:cs typeface="Arial" panose="020B0604020202020204" pitchFamily="34" charset="0"/>
              </a:rPr>
              <a:t>Transizione digitale o ecologica</a:t>
            </a:r>
          </a:p>
        </p:txBody>
      </p:sp>
      <p:grpSp>
        <p:nvGrpSpPr>
          <p:cNvPr id="36" name="Gruppo 35">
            <a:extLst>
              <a:ext uri="{FF2B5EF4-FFF2-40B4-BE49-F238E27FC236}">
                <a16:creationId xmlns:a16="http://schemas.microsoft.com/office/drawing/2014/main" id="{244D42EC-C625-AA91-9849-290EB3A25ABC}"/>
              </a:ext>
            </a:extLst>
          </p:cNvPr>
          <p:cNvGrpSpPr/>
          <p:nvPr/>
        </p:nvGrpSpPr>
        <p:grpSpPr>
          <a:xfrm>
            <a:off x="706954" y="2114441"/>
            <a:ext cx="1149949" cy="1648336"/>
            <a:chOff x="4531402" y="1991190"/>
            <a:chExt cx="1052426" cy="1649762"/>
          </a:xfrm>
          <a:effectLst/>
        </p:grpSpPr>
        <p:pic>
          <p:nvPicPr>
            <p:cNvPr id="37" name="x1.jpg" descr="x1.jpg">
              <a:extLst>
                <a:ext uri="{FF2B5EF4-FFF2-40B4-BE49-F238E27FC236}">
                  <a16:creationId xmlns:a16="http://schemas.microsoft.com/office/drawing/2014/main" id="{57A46A51-B4A8-A29B-1AE8-9CCDD8131BD8}"/>
                </a:ext>
              </a:extLst>
            </p:cNvPr>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a:xfrm>
              <a:off x="4531402" y="1991190"/>
              <a:ext cx="1045484" cy="1649762"/>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8" name="COMPETENZE">
              <a:extLst>
                <a:ext uri="{FF2B5EF4-FFF2-40B4-BE49-F238E27FC236}">
                  <a16:creationId xmlns:a16="http://schemas.microsoft.com/office/drawing/2014/main" id="{65FAC93D-4950-CF86-A643-82ACD84002C7}"/>
                </a:ext>
              </a:extLst>
            </p:cNvPr>
            <p:cNvSpPr txBox="1"/>
            <p:nvPr/>
          </p:nvSpPr>
          <p:spPr>
            <a:xfrm>
              <a:off x="4538353" y="2123448"/>
              <a:ext cx="1045475" cy="3258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rPr>
                <a:t>CERTIFICAZIONI E CONSULENZE</a:t>
              </a:r>
              <a:endParaRPr kumimoji="0"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endParaRPr>
            </a:p>
          </p:txBody>
        </p:sp>
      </p:grpSp>
      <p:grpSp>
        <p:nvGrpSpPr>
          <p:cNvPr id="20" name="Gruppo 19">
            <a:extLst>
              <a:ext uri="{FF2B5EF4-FFF2-40B4-BE49-F238E27FC236}">
                <a16:creationId xmlns:a16="http://schemas.microsoft.com/office/drawing/2014/main" id="{478D64D9-F647-8889-3A97-3AECD1A3DF5E}"/>
              </a:ext>
            </a:extLst>
          </p:cNvPr>
          <p:cNvGrpSpPr/>
          <p:nvPr/>
        </p:nvGrpSpPr>
        <p:grpSpPr>
          <a:xfrm>
            <a:off x="1946863" y="2124513"/>
            <a:ext cx="1142363" cy="1647824"/>
            <a:chOff x="6402773" y="1991189"/>
            <a:chExt cx="1045485" cy="1649249"/>
          </a:xfrm>
          <a:effectLst/>
        </p:grpSpPr>
        <p:pic>
          <p:nvPicPr>
            <p:cNvPr id="24" name="j3.jpg" descr="j3.jpg">
              <a:extLst>
                <a:ext uri="{FF2B5EF4-FFF2-40B4-BE49-F238E27FC236}">
                  <a16:creationId xmlns:a16="http://schemas.microsoft.com/office/drawing/2014/main" id="{52D6DA0C-9BAA-0A6C-E312-AC6FFC25CDE4}"/>
                </a:ext>
              </a:extLst>
            </p:cNvPr>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a:xfrm>
              <a:off x="6402774" y="1991189"/>
              <a:ext cx="1045484" cy="1649249"/>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29" name="COMPETENZE">
              <a:extLst>
                <a:ext uri="{FF2B5EF4-FFF2-40B4-BE49-F238E27FC236}">
                  <a16:creationId xmlns:a16="http://schemas.microsoft.com/office/drawing/2014/main" id="{02C8595A-110B-611F-2E26-076C75C5FD89}"/>
                </a:ext>
              </a:extLst>
            </p:cNvPr>
            <p:cNvSpPr txBox="1"/>
            <p:nvPr/>
          </p:nvSpPr>
          <p:spPr>
            <a:xfrm>
              <a:off x="6402773" y="2160927"/>
              <a:ext cx="1045475" cy="215205"/>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rPr>
                <a:t>TEMPORARY MANAGER</a:t>
              </a:r>
              <a:endParaRPr kumimoji="0"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endParaRPr>
            </a:p>
          </p:txBody>
        </p:sp>
      </p:grpSp>
      <p:grpSp>
        <p:nvGrpSpPr>
          <p:cNvPr id="33" name="Gruppo 32">
            <a:extLst>
              <a:ext uri="{FF2B5EF4-FFF2-40B4-BE49-F238E27FC236}">
                <a16:creationId xmlns:a16="http://schemas.microsoft.com/office/drawing/2014/main" id="{B0938542-37B9-7780-FD0A-92772E7A9C21}"/>
              </a:ext>
            </a:extLst>
          </p:cNvPr>
          <p:cNvGrpSpPr/>
          <p:nvPr/>
        </p:nvGrpSpPr>
        <p:grpSpPr>
          <a:xfrm>
            <a:off x="3204369" y="2125032"/>
            <a:ext cx="1152527" cy="1647305"/>
            <a:chOff x="8236525" y="1991189"/>
            <a:chExt cx="1054787" cy="1648729"/>
          </a:xfrm>
          <a:effectLst/>
        </p:grpSpPr>
        <p:pic>
          <p:nvPicPr>
            <p:cNvPr id="34" name="shutterstock_1066234574.jpg" descr="shutterstock_1066234574.jpg">
              <a:extLst>
                <a:ext uri="{FF2B5EF4-FFF2-40B4-BE49-F238E27FC236}">
                  <a16:creationId xmlns:a16="http://schemas.microsoft.com/office/drawing/2014/main" id="{F1A8DC93-09B1-04BD-0699-29FEA7CF8613}"/>
                </a:ext>
              </a:extLst>
            </p:cNvPr>
            <p:cNvPicPr>
              <a:picLocks noChangeAspect="1"/>
            </p:cNvPicPr>
            <p:nvPr/>
          </p:nvPicPr>
          <p:blipFill>
            <a:blip r:embed="rId6" cstate="email">
              <a:extLst>
                <a:ext uri="{28A0092B-C50C-407E-A947-70E740481C1C}">
                  <a14:useLocalDpi xmlns:a14="http://schemas.microsoft.com/office/drawing/2010/main" val="0"/>
                </a:ext>
              </a:extLst>
            </a:blip>
            <a:srcRect/>
            <a:stretch>
              <a:fillRect/>
            </a:stretch>
          </p:blipFill>
          <p:spPr>
            <a:xfrm>
              <a:off x="8236525" y="1991189"/>
              <a:ext cx="1045484" cy="1648729"/>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5" name="FIERE ED EVENTI">
              <a:extLst>
                <a:ext uri="{FF2B5EF4-FFF2-40B4-BE49-F238E27FC236}">
                  <a16:creationId xmlns:a16="http://schemas.microsoft.com/office/drawing/2014/main" id="{7A82A5F5-E924-DDD5-54DC-EBD104D288C1}"/>
                </a:ext>
              </a:extLst>
            </p:cNvPr>
            <p:cNvSpPr txBox="1"/>
            <p:nvPr/>
          </p:nvSpPr>
          <p:spPr>
            <a:xfrm>
              <a:off x="8245838" y="2153227"/>
              <a:ext cx="1045474" cy="2150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rPr>
                <a:t>FIERE ED EVENTI</a:t>
              </a:r>
            </a:p>
          </p:txBody>
        </p:sp>
      </p:grpSp>
      <p:sp>
        <p:nvSpPr>
          <p:cNvPr id="57" name="Rettangolo con due angoli in diagonale arrotondati 56">
            <a:extLst>
              <a:ext uri="{FF2B5EF4-FFF2-40B4-BE49-F238E27FC236}">
                <a16:creationId xmlns:a16="http://schemas.microsoft.com/office/drawing/2014/main" id="{007CDFFB-D5AB-EC8E-2841-98C8587A7C3B}"/>
              </a:ext>
            </a:extLst>
          </p:cNvPr>
          <p:cNvSpPr/>
          <p:nvPr/>
        </p:nvSpPr>
        <p:spPr>
          <a:xfrm>
            <a:off x="7762046" y="2143499"/>
            <a:ext cx="2062223" cy="1160351"/>
          </a:xfrm>
          <a:prstGeom prst="round2DiagRect">
            <a:avLst/>
          </a:prstGeom>
          <a:solidFill>
            <a:srgbClr val="415364"/>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2400" b="1" i="0" u="none" strike="noStrike" kern="100" cap="none" spc="0" normalizeH="0" baseline="0" noProof="0" dirty="0">
                <a:ln>
                  <a:noFill/>
                </a:ln>
                <a:solidFill>
                  <a:srgbClr val="FFFEFD"/>
                </a:solidFill>
                <a:effectLst/>
                <a:uLnTx/>
                <a:uFillTx/>
                <a:latin typeface="Univers Condensed" panose="020B0506020202050204" pitchFamily="34" charset="0"/>
                <a:ea typeface="Aptos" panose="020B0004020202020204" pitchFamily="34" charset="0"/>
                <a:cs typeface="Arial" panose="020B0604020202020204" pitchFamily="34" charset="0"/>
              </a:rPr>
              <a:t>10%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800" b="1" i="0" u="none" strike="noStrike" kern="100" cap="none" spc="0" normalizeH="0" baseline="0" noProof="0" dirty="0">
                <a:ln>
                  <a:noFill/>
                </a:ln>
                <a:solidFill>
                  <a:srgbClr val="FFFEFD"/>
                </a:solidFill>
                <a:effectLst/>
                <a:uLnTx/>
                <a:uFillTx/>
                <a:latin typeface="Univers Condensed" panose="020B0506020202050204" pitchFamily="34" charset="0"/>
                <a:ea typeface="Aptos" panose="020B0004020202020204" pitchFamily="34" charset="0"/>
                <a:cs typeface="Arial" panose="020B0604020202020204" pitchFamily="34" charset="0"/>
              </a:rPr>
              <a:t>fondo perduto</a:t>
            </a:r>
            <a:endParaRPr kumimoji="0" lang="it-IT" sz="1100" b="1" i="0" u="none" strike="noStrike" kern="0" cap="none" spc="0" normalizeH="0" baseline="0" noProof="0" dirty="0">
              <a:ln>
                <a:noFill/>
              </a:ln>
              <a:solidFill>
                <a:srgbClr val="FFFEFD"/>
              </a:solidFill>
              <a:effectLst/>
              <a:uLnTx/>
              <a:uFillTx/>
              <a:latin typeface="Univers Condensed" panose="020B0506020202050204" pitchFamily="34" charset="0"/>
              <a:ea typeface="+mn-ea"/>
              <a:cs typeface="+mn-cs"/>
            </a:endParaRPr>
          </a:p>
        </p:txBody>
      </p:sp>
      <p:sp>
        <p:nvSpPr>
          <p:cNvPr id="58" name="Rettangolo con due angoli in diagonale arrotondati 57">
            <a:extLst>
              <a:ext uri="{FF2B5EF4-FFF2-40B4-BE49-F238E27FC236}">
                <a16:creationId xmlns:a16="http://schemas.microsoft.com/office/drawing/2014/main" id="{DD982833-4B5F-2C72-55C6-FA7553BD000B}"/>
              </a:ext>
            </a:extLst>
          </p:cNvPr>
          <p:cNvSpPr/>
          <p:nvPr/>
        </p:nvSpPr>
        <p:spPr>
          <a:xfrm>
            <a:off x="5618510" y="3374393"/>
            <a:ext cx="2063341" cy="1163021"/>
          </a:xfrm>
          <a:prstGeom prst="round2DiagRect">
            <a:avLst/>
          </a:prstGeom>
          <a:solidFill>
            <a:srgbClr val="B5C8E5">
              <a:lumMod val="75000"/>
            </a:srgbClr>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800" b="1" i="0" u="none" strike="noStrike" kern="100" cap="none" spc="0" normalizeH="0" baseline="0" noProof="0" dirty="0">
                <a:ln>
                  <a:noFill/>
                </a:ln>
                <a:solidFill>
                  <a:srgbClr val="FFFEFD"/>
                </a:solidFill>
                <a:effectLst/>
                <a:uLnTx/>
                <a:uFillTx/>
                <a:latin typeface="Univers Condensed" panose="020B0506020202050204" pitchFamily="34" charset="0"/>
                <a:ea typeface="+mn-ea"/>
                <a:cs typeface="Arial" panose="020B0604020202020204" pitchFamily="34" charset="0"/>
              </a:rPr>
              <a:t>Durate elevate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0" i="0" u="none" strike="noStrike" kern="100" cap="none" spc="0" normalizeH="0" baseline="0" noProof="0" dirty="0">
                <a:ln>
                  <a:noFill/>
                </a:ln>
                <a:solidFill>
                  <a:srgbClr val="FFFEFD"/>
                </a:solidFill>
                <a:effectLst/>
                <a:uLnTx/>
                <a:uFillTx/>
                <a:latin typeface="Univers Condensed" panose="020B0506020202050204" pitchFamily="34" charset="0"/>
                <a:ea typeface="+mn-ea"/>
                <a:cs typeface="Arial" panose="020B0604020202020204" pitchFamily="34" charset="0"/>
              </a:rPr>
              <a:t>fino a </a:t>
            </a:r>
            <a:r>
              <a:rPr kumimoji="0" lang="it-IT" sz="2400" b="1" i="0" u="none" strike="noStrike" kern="100" cap="none" spc="0" normalizeH="0" baseline="0" noProof="0" dirty="0">
                <a:ln>
                  <a:noFill/>
                </a:ln>
                <a:solidFill>
                  <a:srgbClr val="FFFEFD"/>
                </a:solidFill>
                <a:effectLst/>
                <a:uLnTx/>
                <a:uFillTx/>
                <a:latin typeface="Univers Condensed" panose="020B0506020202050204" pitchFamily="34" charset="0"/>
                <a:ea typeface="+mn-ea"/>
                <a:cs typeface="Arial" panose="020B0604020202020204" pitchFamily="34" charset="0"/>
              </a:rPr>
              <a:t>8 anni</a:t>
            </a:r>
          </a:p>
          <a:p>
            <a:pPr marL="0" marR="0" lvl="0" indent="0" algn="ctr" defTabSz="685800" rtl="0" eaLnBrk="1" fontAlgn="auto" latinLnBrk="0" hangingPunct="1">
              <a:lnSpc>
                <a:spcPct val="100000"/>
              </a:lnSpc>
              <a:spcBef>
                <a:spcPts val="0"/>
              </a:spcBef>
              <a:spcAft>
                <a:spcPts val="300"/>
              </a:spcAft>
              <a:buClrTx/>
              <a:buSzTx/>
              <a:buFontTx/>
              <a:buNone/>
              <a:tabLst/>
              <a:defRPr/>
            </a:pPr>
            <a:r>
              <a:rPr kumimoji="0" lang="it-IT" sz="1000" b="0" i="0" u="none" strike="noStrike" kern="100" cap="none" spc="0" normalizeH="0" baseline="0" noProof="0" dirty="0">
                <a:ln>
                  <a:noFill/>
                </a:ln>
                <a:solidFill>
                  <a:srgbClr val="FFFEFD"/>
                </a:solidFill>
                <a:effectLst/>
                <a:uLnTx/>
                <a:uFillTx/>
                <a:latin typeface="Univers Condensed" panose="020B0506020202050204" pitchFamily="34" charset="0"/>
                <a:ea typeface="+mn-ea"/>
                <a:cs typeface="Arial" panose="020B0604020202020204" pitchFamily="34" charset="0"/>
              </a:rPr>
              <a:t>con pre-ammortamento invariato</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900" b="0" i="1" u="none" strike="noStrike" kern="100" cap="none" spc="0" normalizeH="0" baseline="0" noProof="0" dirty="0">
                <a:ln>
                  <a:noFill/>
                </a:ln>
                <a:solidFill>
                  <a:srgbClr val="FFFEFD"/>
                </a:solidFill>
                <a:effectLst/>
                <a:uLnTx/>
                <a:uFillTx/>
                <a:latin typeface="Univers Condensed" panose="020B0506020202050204" pitchFamily="34" charset="0"/>
                <a:ea typeface="+mn-ea"/>
                <a:cs typeface="Arial" panose="020B0604020202020204" pitchFamily="34" charset="0"/>
              </a:rPr>
              <a:t>Transizione Digitale ed Ecologica</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900" b="0" i="1" u="none" strike="noStrike" kern="100" cap="none" spc="0" normalizeH="0" baseline="0" noProof="0" dirty="0">
                <a:ln>
                  <a:noFill/>
                </a:ln>
                <a:solidFill>
                  <a:srgbClr val="FFFEFD"/>
                </a:solidFill>
                <a:effectLst/>
                <a:uLnTx/>
                <a:uFillTx/>
                <a:latin typeface="Univers Condensed" panose="020B0506020202050204" pitchFamily="34" charset="0"/>
                <a:ea typeface="+mn-ea"/>
                <a:cs typeface="Arial" panose="020B0604020202020204" pitchFamily="34" charset="0"/>
              </a:rPr>
              <a:t>Inserimento Mercati</a:t>
            </a:r>
          </a:p>
        </p:txBody>
      </p:sp>
      <p:sp>
        <p:nvSpPr>
          <p:cNvPr id="59" name="Rettangolo con due angoli in diagonale arrotondati 58">
            <a:extLst>
              <a:ext uri="{FF2B5EF4-FFF2-40B4-BE49-F238E27FC236}">
                <a16:creationId xmlns:a16="http://schemas.microsoft.com/office/drawing/2014/main" id="{9707EEE5-8FBB-E3BA-F7E7-57B99F6C81EB}"/>
              </a:ext>
            </a:extLst>
          </p:cNvPr>
          <p:cNvSpPr/>
          <p:nvPr/>
        </p:nvSpPr>
        <p:spPr>
          <a:xfrm>
            <a:off x="5618511" y="2167161"/>
            <a:ext cx="2062223" cy="1160351"/>
          </a:xfrm>
          <a:prstGeom prst="round2DiagRect">
            <a:avLst/>
          </a:prstGeom>
          <a:solidFill>
            <a:srgbClr val="415364">
              <a:lumMod val="60000"/>
              <a:lumOff val="40000"/>
            </a:srgbClr>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2400" b="1" i="0" u="none" strike="noStrike" kern="100" cap="none" spc="0" normalizeH="0" baseline="0" noProof="0" dirty="0">
                <a:ln>
                  <a:noFill/>
                </a:ln>
                <a:solidFill>
                  <a:srgbClr val="FFFEFD"/>
                </a:solidFill>
                <a:effectLst/>
                <a:uLnTx/>
                <a:uFillTx/>
                <a:latin typeface="Univers Condensed" panose="020B0506020202050204" pitchFamily="34" charset="0"/>
                <a:ea typeface="Aptos" panose="020B0004020202020204" pitchFamily="34" charset="0"/>
                <a:cs typeface="Arial" panose="020B0604020202020204" pitchFamily="34" charset="0"/>
              </a:rPr>
              <a:t>200 €mln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800" b="1" i="0" u="none" strike="noStrike" kern="100" cap="none" spc="0" normalizeH="0" baseline="0" noProof="0" dirty="0">
                <a:ln>
                  <a:noFill/>
                </a:ln>
                <a:solidFill>
                  <a:srgbClr val="FFFEFD"/>
                </a:solidFill>
                <a:effectLst/>
                <a:uLnTx/>
                <a:uFillTx/>
                <a:latin typeface="Univers Condensed" panose="020B0506020202050204" pitchFamily="34" charset="0"/>
                <a:ea typeface="Aptos" panose="020B0004020202020204" pitchFamily="34" charset="0"/>
                <a:cs typeface="Arial" panose="020B0604020202020204" pitchFamily="34" charset="0"/>
              </a:rPr>
              <a:t>plafond</a:t>
            </a:r>
            <a:endParaRPr kumimoji="0" lang="it-IT" sz="1100" b="0" i="0" u="none" strike="noStrike" kern="0" cap="none" spc="0" normalizeH="0" baseline="0" noProof="0" dirty="0">
              <a:ln>
                <a:noFill/>
              </a:ln>
              <a:solidFill>
                <a:srgbClr val="FFFEFD"/>
              </a:solidFill>
              <a:effectLst/>
              <a:uLnTx/>
              <a:uFillTx/>
              <a:latin typeface="Univers Condensed" panose="020B0506020202050204" pitchFamily="34" charset="0"/>
              <a:ea typeface="+mn-ea"/>
              <a:cs typeface="+mn-cs"/>
            </a:endParaRPr>
          </a:p>
        </p:txBody>
      </p:sp>
      <p:sp>
        <p:nvSpPr>
          <p:cNvPr id="60" name="Rettangolo con due angoli in diagonale arrotondati 59">
            <a:extLst>
              <a:ext uri="{FF2B5EF4-FFF2-40B4-BE49-F238E27FC236}">
                <a16:creationId xmlns:a16="http://schemas.microsoft.com/office/drawing/2014/main" id="{C8A4864E-1D22-004A-6342-3E7A455C94CF}"/>
              </a:ext>
            </a:extLst>
          </p:cNvPr>
          <p:cNvSpPr/>
          <p:nvPr/>
        </p:nvSpPr>
        <p:spPr>
          <a:xfrm>
            <a:off x="9904587" y="2116936"/>
            <a:ext cx="2062223" cy="1160351"/>
          </a:xfrm>
          <a:prstGeom prst="round2DiagRect">
            <a:avLst/>
          </a:prstGeom>
          <a:solidFill>
            <a:srgbClr val="5F85B1"/>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800" b="1" i="0" u="none" strike="noStrike" kern="100" cap="none" spc="0" normalizeH="0" baseline="0" noProof="0" dirty="0">
                <a:ln>
                  <a:noFill/>
                </a:ln>
                <a:solidFill>
                  <a:srgbClr val="FFFEFD"/>
                </a:solidFill>
                <a:effectLst/>
                <a:uLnTx/>
                <a:uFillTx/>
                <a:latin typeface="Univers Condensed" panose="020B0506020202050204" pitchFamily="34" charset="0"/>
                <a:ea typeface="Aptos" panose="020B0004020202020204" pitchFamily="34" charset="0"/>
                <a:cs typeface="Arial" panose="020B0604020202020204" pitchFamily="34" charset="0"/>
              </a:rPr>
              <a:t>Anticipi elevati</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0" i="0" u="none" strike="noStrike" kern="100" cap="none" spc="0" normalizeH="0" baseline="0" noProof="0" dirty="0">
                <a:ln>
                  <a:noFill/>
                </a:ln>
                <a:solidFill>
                  <a:srgbClr val="FFFEFD"/>
                </a:solidFill>
                <a:effectLst/>
                <a:uLnTx/>
                <a:uFillTx/>
                <a:latin typeface="Univers Condensed" panose="020B0506020202050204" pitchFamily="34" charset="0"/>
                <a:ea typeface="Aptos" panose="020B0004020202020204" pitchFamily="34" charset="0"/>
                <a:cs typeface="Arial" panose="020B0604020202020204" pitchFamily="34" charset="0"/>
              </a:rPr>
              <a:t>fino al </a:t>
            </a:r>
            <a:r>
              <a:rPr kumimoji="0" lang="it-IT" sz="2400" b="1" i="0" u="none" strike="noStrike" kern="100" cap="none" spc="0" normalizeH="0" baseline="0" noProof="0" dirty="0">
                <a:ln>
                  <a:noFill/>
                </a:ln>
                <a:solidFill>
                  <a:srgbClr val="FFFEFD"/>
                </a:solidFill>
                <a:effectLst/>
                <a:uLnTx/>
                <a:uFillTx/>
                <a:latin typeface="Univers Condensed" panose="020B0506020202050204" pitchFamily="34" charset="0"/>
                <a:ea typeface="Aptos" panose="020B0004020202020204" pitchFamily="34" charset="0"/>
                <a:cs typeface="Arial" panose="020B0604020202020204" pitchFamily="34" charset="0"/>
              </a:rPr>
              <a:t>50%</a:t>
            </a:r>
            <a:endParaRPr kumimoji="0" lang="it-IT" sz="1100" b="1" i="0" u="none" strike="noStrike" kern="0" cap="none" spc="0" normalizeH="0" baseline="0" noProof="0" dirty="0">
              <a:ln>
                <a:noFill/>
              </a:ln>
              <a:solidFill>
                <a:srgbClr val="FFFEFD"/>
              </a:solidFill>
              <a:effectLst/>
              <a:uLnTx/>
              <a:uFillTx/>
              <a:latin typeface="Univers Condensed" panose="020B0506020202050204" pitchFamily="34" charset="0"/>
              <a:ea typeface="+mn-ea"/>
              <a:cs typeface="+mn-cs"/>
            </a:endParaRPr>
          </a:p>
        </p:txBody>
      </p:sp>
      <p:sp>
        <p:nvSpPr>
          <p:cNvPr id="61" name="Rettangolo con due angoli in diagonale arrotondati 60">
            <a:extLst>
              <a:ext uri="{FF2B5EF4-FFF2-40B4-BE49-F238E27FC236}">
                <a16:creationId xmlns:a16="http://schemas.microsoft.com/office/drawing/2014/main" id="{FD499603-0950-117C-14B4-0D5150D10CE5}"/>
              </a:ext>
            </a:extLst>
          </p:cNvPr>
          <p:cNvSpPr/>
          <p:nvPr/>
        </p:nvSpPr>
        <p:spPr>
          <a:xfrm>
            <a:off x="7760362" y="3350731"/>
            <a:ext cx="2063341" cy="1163021"/>
          </a:xfrm>
          <a:prstGeom prst="round2DiagRect">
            <a:avLst/>
          </a:prstGeom>
          <a:solidFill>
            <a:srgbClr val="005392"/>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800" b="1" i="0" u="none" strike="noStrike" kern="100" cap="none" spc="0" normalizeH="0" baseline="0" noProof="0" dirty="0">
                <a:ln>
                  <a:noFill/>
                </a:ln>
                <a:solidFill>
                  <a:srgbClr val="FFFEFD"/>
                </a:solidFill>
                <a:effectLst/>
                <a:uLnTx/>
                <a:uFillTx/>
                <a:latin typeface="Univers Condensed" panose="020B0506020202050204" pitchFamily="34" charset="0"/>
                <a:ea typeface="+mn-ea"/>
                <a:cs typeface="Arial" panose="020B0604020202020204" pitchFamily="34" charset="0"/>
              </a:rPr>
              <a:t>Rafforzamento patrimoniale </a:t>
            </a:r>
          </a:p>
          <a:p>
            <a:pPr marL="0" marR="0" lvl="0" indent="0" algn="ctr" defTabSz="685800" rtl="0" eaLnBrk="1" fontAlgn="auto" latinLnBrk="0" hangingPunct="1">
              <a:lnSpc>
                <a:spcPct val="100000"/>
              </a:lnSpc>
              <a:spcBef>
                <a:spcPts val="0"/>
              </a:spcBef>
              <a:spcAft>
                <a:spcPts val="300"/>
              </a:spcAft>
              <a:buClrTx/>
              <a:buSzTx/>
              <a:buFontTx/>
              <a:buNone/>
              <a:tabLst/>
              <a:defRPr/>
            </a:pPr>
            <a:r>
              <a:rPr kumimoji="0" lang="it-IT" sz="1400" b="0" i="0" u="none" strike="noStrike" kern="100" cap="none" spc="0" normalizeH="0" baseline="0" noProof="0" dirty="0">
                <a:ln>
                  <a:noFill/>
                </a:ln>
                <a:solidFill>
                  <a:srgbClr val="FFFEFD"/>
                </a:solidFill>
                <a:effectLst/>
                <a:uLnTx/>
                <a:uFillTx/>
                <a:latin typeface="Univers Condensed" panose="020B0506020202050204" pitchFamily="34" charset="0"/>
                <a:ea typeface="+mn-ea"/>
                <a:cs typeface="Arial" panose="020B0604020202020204" pitchFamily="34" charset="0"/>
              </a:rPr>
              <a:t>fino all’</a:t>
            </a:r>
            <a:r>
              <a:rPr kumimoji="0" lang="it-IT" sz="2400" b="1" i="0" u="none" strike="noStrike" kern="100" cap="none" spc="0" normalizeH="0" baseline="0" noProof="0" dirty="0">
                <a:ln>
                  <a:noFill/>
                </a:ln>
                <a:solidFill>
                  <a:srgbClr val="FFFEFD"/>
                </a:solidFill>
                <a:effectLst/>
                <a:uLnTx/>
                <a:uFillTx/>
                <a:latin typeface="Univers Condensed" panose="020B0506020202050204" pitchFamily="34" charset="0"/>
                <a:ea typeface="+mn-ea"/>
                <a:cs typeface="Arial" panose="020B0604020202020204" pitchFamily="34" charset="0"/>
              </a:rPr>
              <a:t>80%</a:t>
            </a:r>
            <a:endParaRPr kumimoji="0" lang="it-IT" sz="2800" b="1" i="0" u="none" strike="noStrike" kern="100" cap="none" spc="0" normalizeH="0" baseline="0" noProof="0" dirty="0">
              <a:ln>
                <a:noFill/>
              </a:ln>
              <a:solidFill>
                <a:srgbClr val="FFFEFD"/>
              </a:solidFill>
              <a:effectLst/>
              <a:uLnTx/>
              <a:uFillTx/>
              <a:latin typeface="Univers Condensed" panose="020B0506020202050204" pitchFamily="34" charset="0"/>
              <a:ea typeface="+mn-ea"/>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900" b="0" i="1" u="none" strike="noStrike" kern="100" cap="none" spc="0" normalizeH="0" baseline="0" noProof="0" dirty="0">
                <a:ln>
                  <a:noFill/>
                </a:ln>
                <a:solidFill>
                  <a:srgbClr val="FFFEFD"/>
                </a:solidFill>
                <a:effectLst/>
                <a:uLnTx/>
                <a:uFillTx/>
                <a:latin typeface="Univers Condensed" panose="020B0506020202050204" pitchFamily="34" charset="0"/>
                <a:ea typeface="+mn-ea"/>
                <a:cs typeface="Arial" panose="020B0604020202020204" pitchFamily="34" charset="0"/>
              </a:rPr>
              <a:t>Transizione Digitale ed Ecologica</a:t>
            </a:r>
            <a:endParaRPr kumimoji="0" lang="it-IT" sz="500" b="0" i="1" u="none" strike="noStrike" kern="0" cap="none" spc="0" normalizeH="0" baseline="0" noProof="0" dirty="0">
              <a:ln>
                <a:noFill/>
              </a:ln>
              <a:solidFill>
                <a:srgbClr val="FFFEFD"/>
              </a:solidFill>
              <a:effectLst/>
              <a:uLnTx/>
              <a:uFillTx/>
              <a:latin typeface="Univers Condensed" panose="020B0506020202050204" pitchFamily="34" charset="0"/>
              <a:ea typeface="+mn-ea"/>
              <a:cs typeface="+mn-cs"/>
            </a:endParaRPr>
          </a:p>
        </p:txBody>
      </p:sp>
      <p:sp>
        <p:nvSpPr>
          <p:cNvPr id="62" name="Rettangolo con due angoli in diagonale arrotondati 61">
            <a:extLst>
              <a:ext uri="{FF2B5EF4-FFF2-40B4-BE49-F238E27FC236}">
                <a16:creationId xmlns:a16="http://schemas.microsoft.com/office/drawing/2014/main" id="{8C7480CF-FBF5-3F35-8A22-E6228B3812D2}"/>
              </a:ext>
            </a:extLst>
          </p:cNvPr>
          <p:cNvSpPr/>
          <p:nvPr/>
        </p:nvSpPr>
        <p:spPr>
          <a:xfrm>
            <a:off x="9905277" y="3324170"/>
            <a:ext cx="2063341" cy="1163021"/>
          </a:xfrm>
          <a:prstGeom prst="round2DiagRect">
            <a:avLst/>
          </a:prstGeom>
          <a:solidFill>
            <a:srgbClr val="0070C0"/>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300"/>
              </a:spcAft>
              <a:buClrTx/>
              <a:buSzTx/>
              <a:buFontTx/>
              <a:buNone/>
              <a:tabLst/>
              <a:defRPr/>
            </a:pPr>
            <a:r>
              <a:rPr kumimoji="0" lang="it-IT" sz="1400" b="0" i="0" u="none" strike="noStrike" kern="100" cap="none" spc="0" normalizeH="0" baseline="0" noProof="0" dirty="0">
                <a:ln>
                  <a:noFill/>
                </a:ln>
                <a:solidFill>
                  <a:srgbClr val="FFFEFD"/>
                </a:solidFill>
                <a:effectLst/>
                <a:uLnTx/>
                <a:uFillTx/>
                <a:latin typeface="Univers Condensed" panose="020B0506020202050204" pitchFamily="34" charset="0"/>
                <a:ea typeface="+mn-ea"/>
                <a:cs typeface="Arial" panose="020B0604020202020204" pitchFamily="34" charset="0"/>
              </a:rPr>
              <a:t>Aumenti</a:t>
            </a:r>
            <a:r>
              <a:rPr kumimoji="0" lang="it-IT" sz="1400" b="1" i="0" u="none" strike="noStrike" kern="100" cap="none" spc="0" normalizeH="0" baseline="0" noProof="0" dirty="0">
                <a:ln>
                  <a:noFill/>
                </a:ln>
                <a:solidFill>
                  <a:srgbClr val="FFFEFD"/>
                </a:solidFill>
                <a:effectLst/>
                <a:uLnTx/>
                <a:uFillTx/>
                <a:latin typeface="Univers Condensed" panose="020B0506020202050204" pitchFamily="34" charset="0"/>
                <a:ea typeface="+mn-ea"/>
                <a:cs typeface="Arial" panose="020B0604020202020204" pitchFamily="34" charset="0"/>
              </a:rPr>
              <a:t> capitale sociale e fin. soci </a:t>
            </a:r>
            <a:r>
              <a:rPr kumimoji="0" lang="it-IT" sz="1400" b="0" i="0" u="none" strike="noStrike" kern="100" cap="none" spc="0" normalizeH="0" baseline="0" noProof="0" dirty="0">
                <a:ln>
                  <a:noFill/>
                </a:ln>
                <a:solidFill>
                  <a:srgbClr val="FFFEFD"/>
                </a:solidFill>
                <a:effectLst/>
                <a:uLnTx/>
                <a:uFillTx/>
                <a:latin typeface="Univers Condensed" panose="020B0506020202050204" pitchFamily="34" charset="0"/>
                <a:ea typeface="+mn-ea"/>
                <a:cs typeface="Arial" panose="020B0604020202020204" pitchFamily="34" charset="0"/>
              </a:rPr>
              <a:t>fino a </a:t>
            </a:r>
            <a:r>
              <a:rPr kumimoji="0" lang="it-IT" sz="2000" b="1" i="0" u="none" strike="noStrike" kern="100" cap="none" spc="0" normalizeH="0" baseline="0" noProof="0" dirty="0">
                <a:ln>
                  <a:noFill/>
                </a:ln>
                <a:solidFill>
                  <a:srgbClr val="FFFEFD"/>
                </a:solidFill>
                <a:effectLst/>
                <a:uLnTx/>
                <a:uFillTx/>
                <a:latin typeface="Univers Condensed" panose="020B0506020202050204" pitchFamily="34" charset="0"/>
                <a:ea typeface="+mn-ea"/>
                <a:cs typeface="Arial" panose="020B0604020202020204" pitchFamily="34" charset="0"/>
              </a:rPr>
              <a:t>1€mln </a:t>
            </a:r>
            <a:r>
              <a:rPr kumimoji="0" lang="it-IT" sz="1400" b="1" i="0" u="none" strike="noStrike" kern="100" cap="none" spc="0" normalizeH="0" baseline="0" noProof="0" dirty="0">
                <a:ln>
                  <a:noFill/>
                </a:ln>
                <a:solidFill>
                  <a:srgbClr val="FFFEFD"/>
                </a:solidFill>
                <a:effectLst/>
                <a:uLnTx/>
                <a:uFillTx/>
                <a:latin typeface="Univers Condensed" panose="020B0506020202050204" pitchFamily="34" charset="0"/>
                <a:ea typeface="+mn-ea"/>
                <a:cs typeface="Arial" panose="020B0604020202020204" pitchFamily="34" charset="0"/>
              </a:rPr>
              <a:t>per controllate USA</a:t>
            </a:r>
            <a:endParaRPr kumimoji="0" lang="it-IT" sz="1800" b="1" i="0" u="none" strike="noStrike" kern="100" cap="none" spc="0" normalizeH="0" baseline="0" noProof="0" dirty="0">
              <a:ln>
                <a:noFill/>
              </a:ln>
              <a:solidFill>
                <a:srgbClr val="FFFEFD"/>
              </a:solidFill>
              <a:effectLst/>
              <a:uLnTx/>
              <a:uFillTx/>
              <a:latin typeface="Univers Condensed" panose="020B0506020202050204" pitchFamily="34" charset="0"/>
              <a:ea typeface="+mn-ea"/>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900" b="0" i="1" u="none" strike="noStrike" kern="100" cap="none" spc="0" normalizeH="0" baseline="0" noProof="0" dirty="0">
                <a:ln>
                  <a:noFill/>
                </a:ln>
                <a:solidFill>
                  <a:srgbClr val="FFFEFD"/>
                </a:solidFill>
                <a:effectLst/>
                <a:uLnTx/>
                <a:uFillTx/>
                <a:latin typeface="Univers Condensed" panose="020B0506020202050204" pitchFamily="34" charset="0"/>
                <a:ea typeface="+mn-ea"/>
                <a:cs typeface="Arial" panose="020B0604020202020204" pitchFamily="34" charset="0"/>
              </a:rPr>
              <a:t>Transizione Digitale ed Ecologica</a:t>
            </a:r>
            <a:endParaRPr kumimoji="0" lang="it-IT" sz="800" b="0" i="1" u="none" strike="noStrike" kern="0" cap="none" spc="0" normalizeH="0" baseline="0" noProof="0" dirty="0">
              <a:ln>
                <a:noFill/>
              </a:ln>
              <a:solidFill>
                <a:srgbClr val="FFFEFD"/>
              </a:solidFill>
              <a:effectLst/>
              <a:uLnTx/>
              <a:uFillTx/>
              <a:latin typeface="Univers Condensed" panose="020B0506020202050204" pitchFamily="34" charset="0"/>
              <a:ea typeface="+mn-ea"/>
              <a:cs typeface="+mn-cs"/>
            </a:endParaRPr>
          </a:p>
        </p:txBody>
      </p:sp>
      <p:sp>
        <p:nvSpPr>
          <p:cNvPr id="64" name="CasellaDiTesto 63">
            <a:extLst>
              <a:ext uri="{FF2B5EF4-FFF2-40B4-BE49-F238E27FC236}">
                <a16:creationId xmlns:a16="http://schemas.microsoft.com/office/drawing/2014/main" id="{FCAC2380-CEC3-5C47-97BA-83DD0FD7CAD0}"/>
              </a:ext>
            </a:extLst>
          </p:cNvPr>
          <p:cNvSpPr txBox="1"/>
          <p:nvPr/>
        </p:nvSpPr>
        <p:spPr>
          <a:xfrm>
            <a:off x="5540654" y="965599"/>
            <a:ext cx="6426156" cy="934480"/>
          </a:xfrm>
          <a:prstGeom prst="rect">
            <a:avLst/>
          </a:prstGeom>
          <a:solidFill>
            <a:schemeClr val="bg1">
              <a:alpha val="66000"/>
            </a:schemeClr>
          </a:solidFill>
        </p:spPr>
        <p:txBody>
          <a:bodyPr wrap="square" lIns="27000" tIns="27000" rIns="27000" bIns="27000" anchor="ctr">
            <a:noAutofit/>
          </a:bodyPr>
          <a:lstStyle/>
          <a:p>
            <a:pPr marL="0" marR="0" lvl="0" indent="0" algn="ctr" defTabSz="685800" rtl="0" eaLnBrk="1" fontAlgn="auto" latinLnBrk="0" hangingPunct="1">
              <a:lnSpc>
                <a:spcPct val="114000"/>
              </a:lnSpc>
              <a:spcBef>
                <a:spcPts val="0"/>
              </a:spcBef>
              <a:spcAft>
                <a:spcPts val="0"/>
              </a:spcAft>
              <a:buClrTx/>
              <a:buSzTx/>
              <a:buFontTx/>
              <a:buNone/>
              <a:tabLst/>
              <a:defRPr/>
            </a:pPr>
            <a:r>
              <a:rPr kumimoji="0" lang="it-IT" sz="2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Condizioni dedicate </a:t>
            </a:r>
            <a:r>
              <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per </a:t>
            </a:r>
            <a:r>
              <a:rPr kumimoji="0" lang="it-IT" sz="18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finanziare controllate USA, realizzare investimenti </a:t>
            </a:r>
            <a:r>
              <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o per lo </a:t>
            </a:r>
            <a:r>
              <a:rPr kumimoji="0" lang="it-IT" sz="18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sviluppo commerciale </a:t>
            </a:r>
            <a:r>
              <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in loco</a:t>
            </a:r>
            <a:endParaRPr kumimoji="0" lang="it-IT" sz="1800" b="1" i="0" u="none" strike="noStrike" kern="1200" cap="none" spc="0" normalizeH="0" baseline="0" noProof="0" dirty="0">
              <a:ln>
                <a:noFill/>
              </a:ln>
              <a:solidFill>
                <a:srgbClr val="0070C0"/>
              </a:solidFill>
              <a:effectLst/>
              <a:uLnTx/>
              <a:uFillTx/>
              <a:latin typeface="Univers Condensed" panose="020B0506020202050204" pitchFamily="34" charset="0"/>
              <a:ea typeface="+mn-ea"/>
              <a:cs typeface="+mn-cs"/>
            </a:endParaRPr>
          </a:p>
        </p:txBody>
      </p:sp>
      <p:sp>
        <p:nvSpPr>
          <p:cNvPr id="65" name="CasellaDiTesto 64">
            <a:extLst>
              <a:ext uri="{FF2B5EF4-FFF2-40B4-BE49-F238E27FC236}">
                <a16:creationId xmlns:a16="http://schemas.microsoft.com/office/drawing/2014/main" id="{16AE8DC5-0304-9AC3-8B91-C76A42974675}"/>
              </a:ext>
            </a:extLst>
          </p:cNvPr>
          <p:cNvSpPr txBox="1"/>
          <p:nvPr/>
        </p:nvSpPr>
        <p:spPr>
          <a:xfrm>
            <a:off x="231611" y="972380"/>
            <a:ext cx="5082779" cy="976525"/>
          </a:xfrm>
          <a:prstGeom prst="rect">
            <a:avLst/>
          </a:prstGeom>
          <a:solidFill>
            <a:schemeClr val="bg1">
              <a:alpha val="66000"/>
            </a:schemeClr>
          </a:solidFill>
        </p:spPr>
        <p:txBody>
          <a:bodyPr wrap="square" lIns="27000" tIns="27000" rIns="27000" bIns="27000" anchor="ctr">
            <a:noAutofit/>
          </a:bodyPr>
          <a:lstStyle/>
          <a:p>
            <a:pPr marL="0" marR="0" lvl="0" indent="0" algn="ctr" defTabSz="685800" rtl="0" eaLnBrk="1" fontAlgn="auto" latinLnBrk="0" hangingPunct="1">
              <a:lnSpc>
                <a:spcPct val="114000"/>
              </a:lnSpc>
              <a:spcBef>
                <a:spcPts val="0"/>
              </a:spcBef>
              <a:spcAft>
                <a:spcPts val="450"/>
              </a:spcAft>
              <a:buClrTx/>
              <a:buSzTx/>
              <a:buFontTx/>
              <a:buNone/>
              <a:tabLst/>
              <a:defRPr/>
            </a:pPr>
            <a:r>
              <a:rPr kumimoji="0" lang="it-IT" sz="2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Finanziamenti</a:t>
            </a:r>
            <a:r>
              <a:rPr kumimoji="0" lang="it-IT" sz="2400" b="0"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a:t>
            </a:r>
            <a:r>
              <a:rPr kumimoji="0" lang="it-IT" sz="24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 a tasso agevolato 0,3%</a:t>
            </a:r>
          </a:p>
          <a:p>
            <a:pPr marL="0" marR="0" lvl="0" indent="0" algn="ctr" defTabSz="685800" rtl="0" eaLnBrk="1" fontAlgn="auto" latinLnBrk="0" hangingPunct="1">
              <a:lnSpc>
                <a:spcPct val="114000"/>
              </a:lnSpc>
              <a:spcBef>
                <a:spcPts val="0"/>
              </a:spcBef>
              <a:spcAft>
                <a:spcPts val="0"/>
              </a:spcAft>
              <a:buClrTx/>
              <a:buSzTx/>
              <a:buFontTx/>
              <a:buNone/>
              <a:tabLst/>
              <a:defRPr/>
            </a:pPr>
            <a:r>
              <a:rPr kumimoji="0" lang="it-IT" sz="16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per </a:t>
            </a:r>
            <a:r>
              <a:rPr kumimoji="0" lang="it-IT" sz="1600" b="1"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la competitività internazionale </a:t>
            </a:r>
            <a:endParaRPr kumimoji="0" lang="it-IT" sz="1600" b="1" i="0" u="none" strike="noStrike" kern="1200" cap="none" spc="0" normalizeH="0" baseline="0" noProof="0" dirty="0">
              <a:ln>
                <a:noFill/>
              </a:ln>
              <a:solidFill>
                <a:srgbClr val="0070C0"/>
              </a:solidFill>
              <a:effectLst/>
              <a:uLnTx/>
              <a:uFillTx/>
              <a:latin typeface="Univers Condensed" panose="020B0506020202050204" pitchFamily="34" charset="0"/>
              <a:ea typeface="+mn-ea"/>
              <a:cs typeface="+mn-cs"/>
            </a:endParaRPr>
          </a:p>
        </p:txBody>
      </p:sp>
      <p:pic>
        <p:nvPicPr>
          <p:cNvPr id="67" name="Elemento grafico 66" descr="Badge Segui con riempimento a tinta unita">
            <a:extLst>
              <a:ext uri="{FF2B5EF4-FFF2-40B4-BE49-F238E27FC236}">
                <a16:creationId xmlns:a16="http://schemas.microsoft.com/office/drawing/2014/main" id="{243F5C6B-41B3-1F82-8C0D-A254262829D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18325" y="5922249"/>
            <a:ext cx="498903" cy="498903"/>
          </a:xfrm>
          <a:prstGeom prst="rect">
            <a:avLst/>
          </a:prstGeom>
        </p:spPr>
      </p:pic>
      <p:sp>
        <p:nvSpPr>
          <p:cNvPr id="68" name="CasellaDiTesto 67">
            <a:extLst>
              <a:ext uri="{FF2B5EF4-FFF2-40B4-BE49-F238E27FC236}">
                <a16:creationId xmlns:a16="http://schemas.microsoft.com/office/drawing/2014/main" id="{57A54661-B64C-EEF8-4117-8497CA814509}"/>
              </a:ext>
            </a:extLst>
          </p:cNvPr>
          <p:cNvSpPr txBox="1"/>
          <p:nvPr/>
        </p:nvSpPr>
        <p:spPr>
          <a:xfrm>
            <a:off x="559704" y="6555345"/>
            <a:ext cx="3580913"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it-IT" sz="900" b="0" i="1" u="none" strike="noStrike" kern="1200" cap="none" spc="0" normalizeH="0" baseline="0" noProof="0">
                <a:ln>
                  <a:noFill/>
                </a:ln>
                <a:solidFill>
                  <a:srgbClr val="415364"/>
                </a:solidFill>
                <a:effectLst/>
                <a:uLnTx/>
                <a:uFillTx/>
                <a:latin typeface="Univers Condensed" panose="020B0506020202050204" pitchFamily="34" charset="0"/>
                <a:ea typeface="+mn-ea"/>
                <a:cs typeface="+mn-cs"/>
              </a:rPr>
              <a:t>*Risorse </a:t>
            </a:r>
            <a:r>
              <a:rPr kumimoji="0" lang="it-IT" sz="900" b="0" i="1"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rPr>
              <a:t>a valere su fondi pubblici gestiti da SIMEST per conto del MAECI</a:t>
            </a:r>
          </a:p>
        </p:txBody>
      </p:sp>
      <p:grpSp>
        <p:nvGrpSpPr>
          <p:cNvPr id="39" name="Gruppo 38">
            <a:extLst>
              <a:ext uri="{FF2B5EF4-FFF2-40B4-BE49-F238E27FC236}">
                <a16:creationId xmlns:a16="http://schemas.microsoft.com/office/drawing/2014/main" id="{6527C174-7AA4-C9CD-CFC7-2820C4BA3F44}"/>
              </a:ext>
            </a:extLst>
          </p:cNvPr>
          <p:cNvGrpSpPr/>
          <p:nvPr/>
        </p:nvGrpSpPr>
        <p:grpSpPr>
          <a:xfrm>
            <a:off x="2523540" y="2611924"/>
            <a:ext cx="1142353" cy="1646919"/>
            <a:chOff x="2719549" y="1991850"/>
            <a:chExt cx="1045475" cy="1648343"/>
          </a:xfrm>
          <a:effectLst/>
        </p:grpSpPr>
        <p:pic>
          <p:nvPicPr>
            <p:cNvPr id="40" name="Immagine 39" descr="Immagine 11">
              <a:extLst>
                <a:ext uri="{FF2B5EF4-FFF2-40B4-BE49-F238E27FC236}">
                  <a16:creationId xmlns:a16="http://schemas.microsoft.com/office/drawing/2014/main" id="{58A1F59F-3272-6334-1117-525361E5CA7C}"/>
                </a:ext>
              </a:extLst>
            </p:cNvPr>
            <p:cNvPicPr>
              <a:picLocks noChangeAspect="1"/>
            </p:cNvPicPr>
            <p:nvPr/>
          </p:nvPicPr>
          <p:blipFill>
            <a:blip r:embed="rId9" cstate="email">
              <a:extLst>
                <a:ext uri="{28A0092B-C50C-407E-A947-70E740481C1C}">
                  <a14:useLocalDpi xmlns:a14="http://schemas.microsoft.com/office/drawing/2010/main" val="0"/>
                </a:ext>
              </a:extLst>
            </a:blip>
            <a:srcRect/>
            <a:stretch>
              <a:fillRect/>
            </a:stretch>
          </p:blipFill>
          <p:spPr>
            <a:xfrm>
              <a:off x="2722314" y="1991850"/>
              <a:ext cx="1036310" cy="1648343"/>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41" name="COMPETENZE">
              <a:extLst>
                <a:ext uri="{FF2B5EF4-FFF2-40B4-BE49-F238E27FC236}">
                  <a16:creationId xmlns:a16="http://schemas.microsoft.com/office/drawing/2014/main" id="{6860170B-EFB4-CB55-9013-0816095A88AC}"/>
                </a:ext>
              </a:extLst>
            </p:cNvPr>
            <p:cNvSpPr txBox="1"/>
            <p:nvPr/>
          </p:nvSpPr>
          <p:spPr>
            <a:xfrm>
              <a:off x="2719549" y="2167642"/>
              <a:ext cx="1045475" cy="215205"/>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rPr>
                <a:t>Inserimento mercati</a:t>
              </a:r>
              <a:endParaRPr kumimoji="0"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endParaRPr>
            </a:p>
          </p:txBody>
        </p:sp>
      </p:grpSp>
      <p:grpSp>
        <p:nvGrpSpPr>
          <p:cNvPr id="43" name="Gruppo 42">
            <a:extLst>
              <a:ext uri="{FF2B5EF4-FFF2-40B4-BE49-F238E27FC236}">
                <a16:creationId xmlns:a16="http://schemas.microsoft.com/office/drawing/2014/main" id="{522E7771-5327-BDA9-C773-0548E75D5B4D}"/>
              </a:ext>
            </a:extLst>
          </p:cNvPr>
          <p:cNvGrpSpPr/>
          <p:nvPr/>
        </p:nvGrpSpPr>
        <p:grpSpPr>
          <a:xfrm>
            <a:off x="3816243" y="2612630"/>
            <a:ext cx="1117364" cy="1673425"/>
            <a:chOff x="10057945" y="1991189"/>
            <a:chExt cx="1057807" cy="1651509"/>
          </a:xfrm>
          <a:effectLst/>
        </p:grpSpPr>
        <p:pic>
          <p:nvPicPr>
            <p:cNvPr id="44" name="tr.jpg" descr="tr.jpg">
              <a:extLst>
                <a:ext uri="{FF2B5EF4-FFF2-40B4-BE49-F238E27FC236}">
                  <a16:creationId xmlns:a16="http://schemas.microsoft.com/office/drawing/2014/main" id="{8D461ADC-8C25-9D1E-6814-7ECDBD528188}"/>
                </a:ext>
              </a:extLst>
            </p:cNvPr>
            <p:cNvPicPr>
              <a:picLocks noChangeAspect="1"/>
            </p:cNvPicPr>
            <p:nvPr/>
          </p:nvPicPr>
          <p:blipFill>
            <a:blip r:embed="rId10" cstate="email">
              <a:extLst>
                <a:ext uri="{28A0092B-C50C-407E-A947-70E740481C1C}">
                  <a14:useLocalDpi xmlns:a14="http://schemas.microsoft.com/office/drawing/2010/main" val="0"/>
                </a:ext>
              </a:extLst>
            </a:blip>
            <a:srcRect/>
            <a:stretch>
              <a:fillRect/>
            </a:stretch>
          </p:blipFill>
          <p:spPr>
            <a:xfrm>
              <a:off x="10057945" y="1991189"/>
              <a:ext cx="1045484" cy="1651509"/>
            </a:xfrm>
            <a:prstGeom prst="roundRect">
              <a:avLst/>
            </a:prstGeom>
            <a:ln w="12700">
              <a:miter lim="400000"/>
            </a:ln>
            <a:effectLst>
              <a:reflection stA="50000" endPos="40000" dir="5400000" sy="-100000" algn="bl" rotWithShape="0"/>
            </a:effectLst>
          </p:spPr>
        </p:pic>
        <p:sp>
          <p:nvSpPr>
            <p:cNvPr id="45" name="E-COMMERCE">
              <a:extLst>
                <a:ext uri="{FF2B5EF4-FFF2-40B4-BE49-F238E27FC236}">
                  <a16:creationId xmlns:a16="http://schemas.microsoft.com/office/drawing/2014/main" id="{E7D9D18F-87A9-2227-E64A-9502C064420A}"/>
                </a:ext>
              </a:extLst>
            </p:cNvPr>
            <p:cNvSpPr txBox="1"/>
            <p:nvPr/>
          </p:nvSpPr>
          <p:spPr>
            <a:xfrm>
              <a:off x="10070277" y="2116948"/>
              <a:ext cx="1045475" cy="238100"/>
            </a:xfrm>
            <a:prstGeom prst="round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rPr>
                <a:t>E-COMMERCE</a:t>
              </a:r>
            </a:p>
          </p:txBody>
        </p:sp>
      </p:grpSp>
      <p:grpSp>
        <p:nvGrpSpPr>
          <p:cNvPr id="46" name="Gruppo 45">
            <a:extLst>
              <a:ext uri="{FF2B5EF4-FFF2-40B4-BE49-F238E27FC236}">
                <a16:creationId xmlns:a16="http://schemas.microsoft.com/office/drawing/2014/main" id="{A79F395F-35E1-1CE0-4F45-DE190019F92A}"/>
              </a:ext>
            </a:extLst>
          </p:cNvPr>
          <p:cNvGrpSpPr/>
          <p:nvPr/>
        </p:nvGrpSpPr>
        <p:grpSpPr>
          <a:xfrm>
            <a:off x="1233111" y="2631002"/>
            <a:ext cx="1142362" cy="1655053"/>
            <a:chOff x="876230" y="1996824"/>
            <a:chExt cx="1045484" cy="1656484"/>
          </a:xfrm>
          <a:effectLst/>
        </p:grpSpPr>
        <p:pic>
          <p:nvPicPr>
            <p:cNvPr id="47" name="shutterstock_1785478235.jpg" descr="shutterstock_1785478235.jpg">
              <a:extLst>
                <a:ext uri="{FF2B5EF4-FFF2-40B4-BE49-F238E27FC236}">
                  <a16:creationId xmlns:a16="http://schemas.microsoft.com/office/drawing/2014/main" id="{C72431D0-DE63-34C2-CB35-15452E30C91F}"/>
                </a:ext>
              </a:extLst>
            </p:cNvPr>
            <p:cNvPicPr>
              <a:picLocks noChangeAspect="1"/>
            </p:cNvPicPr>
            <p:nvPr/>
          </p:nvPicPr>
          <p:blipFill>
            <a:blip r:embed="rId11" cstate="email">
              <a:extLst>
                <a:ext uri="{28A0092B-C50C-407E-A947-70E740481C1C}">
                  <a14:useLocalDpi xmlns:a14="http://schemas.microsoft.com/office/drawing/2010/main" val="0"/>
                </a:ext>
              </a:extLst>
            </a:blip>
            <a:srcRect/>
            <a:stretch>
              <a:fillRect/>
            </a:stretch>
          </p:blipFill>
          <p:spPr>
            <a:xfrm>
              <a:off x="876230" y="1996824"/>
              <a:ext cx="1045484" cy="1656484"/>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48" name="COMPETENZE">
              <a:extLst>
                <a:ext uri="{FF2B5EF4-FFF2-40B4-BE49-F238E27FC236}">
                  <a16:creationId xmlns:a16="http://schemas.microsoft.com/office/drawing/2014/main" id="{E47805E3-15C7-FF4F-C57A-9B8D12EF4A0F}"/>
                </a:ext>
              </a:extLst>
            </p:cNvPr>
            <p:cNvSpPr txBox="1"/>
            <p:nvPr/>
          </p:nvSpPr>
          <p:spPr>
            <a:xfrm>
              <a:off x="876239" y="2173227"/>
              <a:ext cx="1045475" cy="326101"/>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rPr>
                <a:t>Transizione digitale o ecologica</a:t>
              </a:r>
              <a:endParaRPr kumimoji="0" sz="800" b="1" i="0" u="none" strike="noStrike" kern="0" cap="all" spc="0" normalizeH="0" baseline="0" noProof="0" dirty="0">
                <a:ln>
                  <a:noFill/>
                </a:ln>
                <a:solidFill>
                  <a:srgbClr val="FFFFFF"/>
                </a:solidFill>
                <a:effectLst/>
                <a:uLnTx/>
                <a:uFillTx/>
                <a:latin typeface="Univers Condensed" panose="020B0506020202050204" pitchFamily="34" charset="0"/>
                <a:sym typeface="Avenir Heavy"/>
              </a:endParaRPr>
            </a:p>
          </p:txBody>
        </p:sp>
      </p:grpSp>
      <p:sp>
        <p:nvSpPr>
          <p:cNvPr id="3" name="Triangolo isoscele 2">
            <a:extLst>
              <a:ext uri="{FF2B5EF4-FFF2-40B4-BE49-F238E27FC236}">
                <a16:creationId xmlns:a16="http://schemas.microsoft.com/office/drawing/2014/main" id="{DDDB5D8C-E6A5-314D-C8EA-10FDF87BA07A}"/>
              </a:ext>
            </a:extLst>
          </p:cNvPr>
          <p:cNvSpPr/>
          <p:nvPr/>
        </p:nvSpPr>
        <p:spPr>
          <a:xfrm rot="5400000">
            <a:off x="4545407" y="3268833"/>
            <a:ext cx="1443711" cy="129896"/>
          </a:xfrm>
          <a:prstGeom prst="triangle">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54636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ttangolo con angoli arrotondati 6">
            <a:extLst>
              <a:ext uri="{FF2B5EF4-FFF2-40B4-BE49-F238E27FC236}">
                <a16:creationId xmlns:a16="http://schemas.microsoft.com/office/drawing/2014/main" id="{253D1B43-03EA-3530-CA85-EE20B8467F6C}"/>
              </a:ext>
            </a:extLst>
          </p:cNvPr>
          <p:cNvSpPr/>
          <p:nvPr/>
        </p:nvSpPr>
        <p:spPr>
          <a:xfrm>
            <a:off x="1180578" y="2178309"/>
            <a:ext cx="1050823" cy="1433255"/>
          </a:xfrm>
          <a:prstGeom prst="roundRect">
            <a:avLst>
              <a:gd name="adj" fmla="val 12849"/>
            </a:avLst>
          </a:prstGeom>
          <a:blipFill>
            <a:blip r:embed="rId2"/>
            <a:stretch>
              <a:fillRect/>
            </a:stretch>
          </a:blip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0" name="Rettangolo 19">
            <a:extLst>
              <a:ext uri="{FF2B5EF4-FFF2-40B4-BE49-F238E27FC236}">
                <a16:creationId xmlns:a16="http://schemas.microsoft.com/office/drawing/2014/main" id="{515216F3-D016-6997-2E80-4DBDDF322B45}"/>
              </a:ext>
            </a:extLst>
          </p:cNvPr>
          <p:cNvSpPr/>
          <p:nvPr/>
        </p:nvSpPr>
        <p:spPr>
          <a:xfrm>
            <a:off x="28628" y="630100"/>
            <a:ext cx="6444399" cy="11135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2300" b="1" dirty="0">
                <a:solidFill>
                  <a:schemeClr val="accent2"/>
                </a:solidFill>
                <a:latin typeface="Univers Condensed" panose="020B0506020202050204" pitchFamily="34" charset="0"/>
              </a:rPr>
              <a:t>«Potenziamento Mercati Africani», «Competitività America Latina» e «Affiancamento mercato indiano»</a:t>
            </a:r>
          </a:p>
        </p:txBody>
      </p:sp>
      <p:sp>
        <p:nvSpPr>
          <p:cNvPr id="2" name="Rettangolo 1">
            <a:extLst>
              <a:ext uri="{FF2B5EF4-FFF2-40B4-BE49-F238E27FC236}">
                <a16:creationId xmlns:a16="http://schemas.microsoft.com/office/drawing/2014/main" id="{F3CB6303-B81F-7BCF-D8F0-C9510965F5FF}"/>
              </a:ext>
            </a:extLst>
          </p:cNvPr>
          <p:cNvSpPr/>
          <p:nvPr/>
        </p:nvSpPr>
        <p:spPr>
          <a:xfrm>
            <a:off x="6414634" y="0"/>
            <a:ext cx="5777366" cy="6858000"/>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latin typeface="Univers Condensed" panose="020B0506020202050204" pitchFamily="34" charset="0"/>
            </a:endParaRPr>
          </a:p>
        </p:txBody>
      </p:sp>
      <p:sp>
        <p:nvSpPr>
          <p:cNvPr id="4" name="Segnaposto numero diapositiva 3">
            <a:extLst>
              <a:ext uri="{FF2B5EF4-FFF2-40B4-BE49-F238E27FC236}">
                <a16:creationId xmlns:a16="http://schemas.microsoft.com/office/drawing/2014/main" id="{45A0A2B9-85F9-8097-1D8E-3E44F9CB4362}"/>
              </a:ext>
            </a:extLst>
          </p:cNvPr>
          <p:cNvSpPr>
            <a:spLocks noGrp="1"/>
          </p:cNvSpPr>
          <p:nvPr>
            <p:ph type="sldNum" sz="quarter" idx="12"/>
          </p:nvPr>
        </p:nvSpPr>
        <p:spPr/>
        <p:txBody>
          <a:bodyPr/>
          <a:lstStyle/>
          <a:p>
            <a:fld id="{608DA0FE-9C19-F746-8419-6700E348BF78}" type="slidenum">
              <a:rPr lang="it-IT" smtClean="0"/>
              <a:pPr/>
              <a:t>6</a:t>
            </a:fld>
            <a:endParaRPr lang="it-IT" dirty="0"/>
          </a:p>
        </p:txBody>
      </p:sp>
      <p:sp>
        <p:nvSpPr>
          <p:cNvPr id="11" name="Rettangolo arrotondato 85">
            <a:extLst>
              <a:ext uri="{FF2B5EF4-FFF2-40B4-BE49-F238E27FC236}">
                <a16:creationId xmlns:a16="http://schemas.microsoft.com/office/drawing/2014/main" id="{2EAAA5B9-BF60-4730-D0B1-9CBDD012E647}"/>
              </a:ext>
            </a:extLst>
          </p:cNvPr>
          <p:cNvSpPr/>
          <p:nvPr/>
        </p:nvSpPr>
        <p:spPr>
          <a:xfrm>
            <a:off x="186849" y="4147194"/>
            <a:ext cx="2025506" cy="58556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Per imprese che:</a:t>
            </a:r>
          </a:p>
        </p:txBody>
      </p:sp>
      <p:sp>
        <p:nvSpPr>
          <p:cNvPr id="12" name="Rettangolo arrotondato 85">
            <a:extLst>
              <a:ext uri="{FF2B5EF4-FFF2-40B4-BE49-F238E27FC236}">
                <a16:creationId xmlns:a16="http://schemas.microsoft.com/office/drawing/2014/main" id="{5EB40DAC-C240-3162-CCE4-69550B92D39B}"/>
              </a:ext>
            </a:extLst>
          </p:cNvPr>
          <p:cNvSpPr/>
          <p:nvPr/>
        </p:nvSpPr>
        <p:spPr>
          <a:xfrm>
            <a:off x="229767" y="4596452"/>
            <a:ext cx="6155708" cy="1988986"/>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just" defTabSz="914400" rtl="0" eaLnBrk="1" fontAlgn="auto" latinLnBrk="0" hangingPunct="1">
              <a:lnSpc>
                <a:spcPct val="100000"/>
              </a:lnSpc>
              <a:spcBef>
                <a:spcPts val="0"/>
              </a:spcBef>
              <a:spcAft>
                <a:spcPts val="600"/>
              </a:spcAft>
              <a:buClrTx/>
              <a:buSzTx/>
              <a:tabLst/>
              <a:defRPr/>
            </a:pPr>
            <a:r>
              <a:rPr kumimoji="0" lang="it-IT" sz="1600" i="0" u="none" strike="noStrike" kern="1200" cap="none" spc="0" normalizeH="0" baseline="0" noProof="0" dirty="0">
                <a:ln>
                  <a:noFill/>
                </a:ln>
                <a:solidFill>
                  <a:schemeClr val="accent1"/>
                </a:solidFill>
                <a:effectLst/>
                <a:uLnTx/>
                <a:uFillTx/>
                <a:latin typeface="Univers Condensed" panose="020B0506020202050204" pitchFamily="34" charset="0"/>
                <a:ea typeface="+mn-ea"/>
                <a:cs typeface="+mn-cs"/>
              </a:rPr>
              <a:t>abbiano depositato 2 bilanci e</a:t>
            </a:r>
          </a:p>
          <a:p>
            <a:pPr marL="180975" marR="0" lvl="0" indent="-180975" algn="just"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it-IT" sz="1600" i="0" u="none" strike="noStrike" kern="1200" cap="none" spc="0" normalizeH="0" baseline="0" noProof="0" dirty="0">
                <a:ln>
                  <a:noFill/>
                </a:ln>
                <a:solidFill>
                  <a:schemeClr val="accent1"/>
                </a:solidFill>
                <a:effectLst/>
                <a:uLnTx/>
                <a:uFillTx/>
                <a:latin typeface="Univers Condensed" panose="020B0506020202050204" pitchFamily="34" charset="0"/>
                <a:ea typeface="+mn-ea"/>
                <a:cs typeface="+mn-cs"/>
              </a:rPr>
              <a:t>abbiano un fatturato export complessivo </a:t>
            </a:r>
            <a:r>
              <a:rPr lang="it-IT" sz="1600" dirty="0">
                <a:solidFill>
                  <a:schemeClr val="accent1"/>
                </a:solidFill>
                <a:latin typeface="Times New Roman" panose="02020603050405020304" pitchFamily="18" charset="0"/>
                <a:cs typeface="Times New Roman" panose="02020603050405020304" pitchFamily="18" charset="0"/>
              </a:rPr>
              <a:t>≥</a:t>
            </a:r>
            <a:r>
              <a:rPr lang="it-IT" sz="1600" dirty="0">
                <a:solidFill>
                  <a:schemeClr val="accent1"/>
                </a:solidFill>
                <a:latin typeface="Univers Condensed" panose="020B0506020202050204" pitchFamily="34" charset="0"/>
              </a:rPr>
              <a:t>5% e abbiano import o export (</a:t>
            </a:r>
            <a:r>
              <a:rPr lang="it-IT" sz="1600" dirty="0">
                <a:solidFill>
                  <a:schemeClr val="accent1"/>
                </a:solidFill>
                <a:latin typeface="Times New Roman" panose="02020603050405020304" pitchFamily="18" charset="0"/>
                <a:cs typeface="Times New Roman" panose="02020603050405020304" pitchFamily="18" charset="0"/>
              </a:rPr>
              <a:t>≥ </a:t>
            </a:r>
            <a:r>
              <a:rPr lang="it-IT" sz="1600" dirty="0">
                <a:solidFill>
                  <a:schemeClr val="accent1"/>
                </a:solidFill>
                <a:latin typeface="Univers Condensed" panose="020B0506020202050204" pitchFamily="34" charset="0"/>
              </a:rPr>
              <a:t>2%) o presenza in Africa o in America Latina o in India </a:t>
            </a:r>
            <a:r>
              <a:rPr lang="it-IT" sz="1600" b="1" dirty="0">
                <a:solidFill>
                  <a:schemeClr val="accent1"/>
                </a:solidFill>
                <a:latin typeface="Univers Condensed" panose="020B0506020202050204" pitchFamily="34" charset="0"/>
              </a:rPr>
              <a:t>oppure</a:t>
            </a:r>
            <a:endParaRPr lang="it-IT" sz="1600" dirty="0">
              <a:solidFill>
                <a:schemeClr val="accent1"/>
              </a:solidFill>
              <a:latin typeface="Univers Condensed" panose="020B0506020202050204" pitchFamily="34" charset="0"/>
            </a:endParaRPr>
          </a:p>
          <a:p>
            <a:pPr marL="180975" marR="0" lvl="0" indent="-180975" algn="just"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it-IT" sz="1600" i="0" u="none" strike="noStrike" kern="1200" cap="none" spc="0" normalizeH="0" baseline="0" noProof="0" dirty="0">
                <a:ln>
                  <a:noFill/>
                </a:ln>
                <a:solidFill>
                  <a:schemeClr val="accent1"/>
                </a:solidFill>
                <a:effectLst/>
                <a:uLnTx/>
                <a:uFillTx/>
                <a:latin typeface="Univers Condensed" panose="020B0506020202050204" pitchFamily="34" charset="0"/>
                <a:ea typeface="+mn-ea"/>
                <a:cs typeface="+mn-cs"/>
              </a:rPr>
              <a:t>non abbiano un fatturato export ma siano fornitrici per il 10% del fatturato di tali imprese </a:t>
            </a:r>
            <a:r>
              <a:rPr kumimoji="0" lang="it-IT" sz="1600" b="1" i="0" u="none" strike="noStrike" kern="1200" cap="none" spc="0" normalizeH="0" baseline="0" noProof="0" dirty="0">
                <a:ln>
                  <a:noFill/>
                </a:ln>
                <a:solidFill>
                  <a:schemeClr val="accent1"/>
                </a:solidFill>
                <a:effectLst/>
                <a:uLnTx/>
                <a:uFillTx/>
                <a:latin typeface="Univers Condensed" panose="020B0506020202050204" pitchFamily="34" charset="0"/>
                <a:ea typeface="+mn-ea"/>
                <a:cs typeface="+mn-cs"/>
              </a:rPr>
              <a:t>oppure</a:t>
            </a:r>
          </a:p>
          <a:p>
            <a:pPr marL="180975" marR="0" lvl="0" indent="-180975" algn="just"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lang="it-IT" sz="1600" dirty="0">
                <a:solidFill>
                  <a:schemeClr val="accent1"/>
                </a:solidFill>
                <a:latin typeface="Univers Condensed" panose="020B0506020202050204" pitchFamily="34" charset="0"/>
              </a:rPr>
              <a:t>non abbiano un fatturato export ma </a:t>
            </a:r>
            <a:r>
              <a:rPr lang="it-IT" sz="1600" b="1" dirty="0">
                <a:solidFill>
                  <a:schemeClr val="accent1"/>
                </a:solidFill>
                <a:latin typeface="Univers Condensed" panose="020B0506020202050204" pitchFamily="34" charset="0"/>
              </a:rPr>
              <a:t>intendono investire in Africa o America Latina o in India</a:t>
            </a:r>
            <a:endParaRPr kumimoji="0" lang="it-IT" sz="1600" b="1" i="0" u="none" strike="noStrike" kern="1200" cap="none" spc="0" normalizeH="0" baseline="0" noProof="0" dirty="0">
              <a:ln>
                <a:noFill/>
              </a:ln>
              <a:solidFill>
                <a:schemeClr val="accent1"/>
              </a:solidFill>
              <a:effectLst/>
              <a:uLnTx/>
              <a:uFillTx/>
              <a:latin typeface="Univers Condensed" panose="020B0506020202050204" pitchFamily="34" charset="0"/>
              <a:ea typeface="+mn-ea"/>
              <a:cs typeface="+mn-cs"/>
            </a:endParaRPr>
          </a:p>
        </p:txBody>
      </p:sp>
      <p:sp>
        <p:nvSpPr>
          <p:cNvPr id="18" name="CasellaDiTesto 17">
            <a:extLst>
              <a:ext uri="{FF2B5EF4-FFF2-40B4-BE49-F238E27FC236}">
                <a16:creationId xmlns:a16="http://schemas.microsoft.com/office/drawing/2014/main" id="{D383ABEC-8B08-1A2D-E31C-EAF0A7F61887}"/>
              </a:ext>
            </a:extLst>
          </p:cNvPr>
          <p:cNvSpPr txBox="1"/>
          <p:nvPr/>
        </p:nvSpPr>
        <p:spPr>
          <a:xfrm>
            <a:off x="6842479" y="140434"/>
            <a:ext cx="4921677" cy="830997"/>
          </a:xfrm>
          <a:prstGeom prst="rect">
            <a:avLst/>
          </a:prstGeom>
          <a:noFill/>
        </p:spPr>
        <p:txBody>
          <a:bodyPr wrap="square">
            <a:spAutoFit/>
          </a:bodyPr>
          <a:lstStyle/>
          <a:p>
            <a:pPr algn="ctr"/>
            <a:r>
              <a:rPr lang="it-IT" sz="2400" b="1" dirty="0">
                <a:latin typeface="Univers Condensed" panose="020B0506020202050204" pitchFamily="34" charset="0"/>
                <a:ea typeface="Times New Roman" panose="02020603050405020304" pitchFamily="18" charset="0"/>
              </a:rPr>
              <a:t>CON QUESTI STRUMENTI PUOI FINANZIARE</a:t>
            </a:r>
            <a:endParaRPr lang="it-IT" sz="2400" b="1" dirty="0">
              <a:effectLst/>
              <a:latin typeface="Univers Condensed" panose="020B0506020202050204" pitchFamily="34" charset="0"/>
              <a:ea typeface="Times New Roman" panose="02020603050405020304" pitchFamily="18" charset="0"/>
            </a:endParaRPr>
          </a:p>
        </p:txBody>
      </p:sp>
      <p:sp>
        <p:nvSpPr>
          <p:cNvPr id="19" name="CasellaDiTesto 18">
            <a:extLst>
              <a:ext uri="{FF2B5EF4-FFF2-40B4-BE49-F238E27FC236}">
                <a16:creationId xmlns:a16="http://schemas.microsoft.com/office/drawing/2014/main" id="{96C1199E-6C7D-FCA2-1E6D-00DE773EE58C}"/>
              </a:ext>
            </a:extLst>
          </p:cNvPr>
          <p:cNvSpPr txBox="1"/>
          <p:nvPr/>
        </p:nvSpPr>
        <p:spPr>
          <a:xfrm>
            <a:off x="6610884" y="1107371"/>
            <a:ext cx="5451413" cy="5570756"/>
          </a:xfrm>
          <a:prstGeom prst="rect">
            <a:avLst/>
          </a:prstGeom>
          <a:noFill/>
        </p:spPr>
        <p:txBody>
          <a:bodyPr wrap="square">
            <a:spAutoFit/>
          </a:bodyPr>
          <a:lstStyle/>
          <a:p>
            <a:pPr marL="285750" indent="-285750">
              <a:spcAft>
                <a:spcPts val="1800"/>
              </a:spcAft>
              <a:buFont typeface="Wingdings" panose="05000000000000000000" pitchFamily="2" charset="2"/>
              <a:buChar char="§"/>
            </a:pPr>
            <a:r>
              <a:rPr lang="it-IT" sz="2000" dirty="0">
                <a:latin typeface="Univers Condensed" panose="020B0506020202050204" pitchFamily="34" charset="0"/>
              </a:rPr>
              <a:t>Investimenti in </a:t>
            </a:r>
            <a:r>
              <a:rPr lang="it-IT" sz="2000" b="1" dirty="0">
                <a:latin typeface="Univers Condensed" panose="020B0506020202050204" pitchFamily="34" charset="0"/>
              </a:rPr>
              <a:t>transizione digitale ed ecologica </a:t>
            </a:r>
            <a:r>
              <a:rPr lang="it-IT" sz="2000" dirty="0">
                <a:latin typeface="Univers Condensed" panose="020B0506020202050204" pitchFamily="34" charset="0"/>
              </a:rPr>
              <a:t>e immobilizzazioni materiali e immateriali, </a:t>
            </a:r>
            <a:r>
              <a:rPr lang="it-IT" sz="2000" b="1" dirty="0">
                <a:latin typeface="Univers Condensed" panose="020B0506020202050204" pitchFamily="34" charset="0"/>
              </a:rPr>
              <a:t>anche in Italia</a:t>
            </a:r>
          </a:p>
          <a:p>
            <a:pPr marL="285750" indent="-285750">
              <a:spcAft>
                <a:spcPts val="1800"/>
              </a:spcAft>
              <a:buFont typeface="Wingdings" panose="05000000000000000000" pitchFamily="2" charset="2"/>
              <a:buChar char="§"/>
            </a:pPr>
            <a:r>
              <a:rPr lang="it-IT" sz="2000" b="1" dirty="0">
                <a:latin typeface="Univers Condensed" panose="020B0506020202050204" pitchFamily="34" charset="0"/>
              </a:rPr>
              <a:t>Finanziamenti alle società controllate    </a:t>
            </a:r>
            <a:r>
              <a:rPr lang="it-IT" sz="1600" dirty="0">
                <a:latin typeface="Univers Condensed" panose="020B0506020202050204" pitchFamily="34" charset="0"/>
              </a:rPr>
              <a:t>(incrementi capitale sociale e finanziamenti soci)</a:t>
            </a:r>
          </a:p>
          <a:p>
            <a:pPr marL="285750" indent="-285750">
              <a:spcAft>
                <a:spcPts val="1800"/>
              </a:spcAft>
              <a:buFont typeface="Wingdings" panose="05000000000000000000" pitchFamily="2" charset="2"/>
              <a:buChar char="§"/>
            </a:pPr>
            <a:r>
              <a:rPr lang="it-IT" sz="2000" b="1" dirty="0">
                <a:latin typeface="Univers Condensed" panose="020B0506020202050204" pitchFamily="34" charset="0"/>
              </a:rPr>
              <a:t>Formazione professionale</a:t>
            </a:r>
            <a:r>
              <a:rPr lang="it-IT" sz="2000" dirty="0">
                <a:latin typeface="Univers Condensed" panose="020B0506020202050204" pitchFamily="34" charset="0"/>
              </a:rPr>
              <a:t> di personale locale</a:t>
            </a:r>
            <a:r>
              <a:rPr lang="it-IT" sz="2000" b="1" dirty="0">
                <a:latin typeface="Univers Condensed" panose="020B0506020202050204" pitchFamily="34" charset="0"/>
              </a:rPr>
              <a:t>  e spese connesse</a:t>
            </a:r>
            <a:r>
              <a:rPr lang="it-IT" sz="2000" dirty="0">
                <a:latin typeface="Univers Condensed" panose="020B0506020202050204" pitchFamily="34" charset="0"/>
              </a:rPr>
              <a:t>: affitto e allestimento strutture, viaggi, soggiorno,  regolarizzazione in Italia e contratti di lavoro</a:t>
            </a:r>
          </a:p>
          <a:p>
            <a:pPr marL="285750" indent="-285750">
              <a:spcAft>
                <a:spcPts val="1800"/>
              </a:spcAft>
              <a:buFont typeface="Wingdings" panose="05000000000000000000" pitchFamily="2" charset="2"/>
              <a:buChar char="§"/>
            </a:pPr>
            <a:r>
              <a:rPr lang="it-IT" sz="2000" dirty="0">
                <a:latin typeface="Univers Condensed" panose="020B0506020202050204" pitchFamily="34" charset="0"/>
              </a:rPr>
              <a:t>Acquisto o affitto di </a:t>
            </a:r>
            <a:r>
              <a:rPr lang="it-IT" sz="2000" b="1" dirty="0">
                <a:latin typeface="Univers Condensed" panose="020B0506020202050204" pitchFamily="34" charset="0"/>
              </a:rPr>
              <a:t>strutture commerciali</a:t>
            </a:r>
            <a:r>
              <a:rPr lang="it-IT" sz="2000" dirty="0">
                <a:latin typeface="Univers Condensed" panose="020B0506020202050204" pitchFamily="34" charset="0"/>
              </a:rPr>
              <a:t> in loco (anche temporanee e virtuali)</a:t>
            </a:r>
          </a:p>
          <a:p>
            <a:pPr marL="285750" indent="-285750">
              <a:spcAft>
                <a:spcPts val="1800"/>
              </a:spcAft>
              <a:buFont typeface="Wingdings" panose="05000000000000000000" pitchFamily="2" charset="2"/>
              <a:buChar char="§"/>
            </a:pPr>
            <a:r>
              <a:rPr lang="it-IT" sz="2000" b="1" dirty="0">
                <a:latin typeface="Univers Condensed" panose="020B0506020202050204" pitchFamily="34" charset="0"/>
              </a:rPr>
              <a:t>Spese per </a:t>
            </a:r>
            <a:r>
              <a:rPr lang="it-IT" altLang="it-IT" sz="2000" b="1" dirty="0">
                <a:latin typeface="Univers Condensed" panose="020B0506020202050204" pitchFamily="34" charset="0"/>
              </a:rPr>
              <a:t>individuazione di nuove opportunità di business: </a:t>
            </a:r>
            <a:r>
              <a:rPr lang="it-IT" sz="2000" dirty="0">
                <a:latin typeface="Univers Condensed" panose="020B0506020202050204" pitchFamily="34" charset="0"/>
              </a:rPr>
              <a:t>marketing e pubblicità, </a:t>
            </a:r>
            <a:r>
              <a:rPr lang="it-IT" altLang="it-IT" sz="2000" dirty="0" err="1">
                <a:latin typeface="Univers Condensed" panose="020B0506020202050204" pitchFamily="34" charset="0"/>
              </a:rPr>
              <a:t>advisory</a:t>
            </a:r>
            <a:r>
              <a:rPr lang="it-IT" altLang="it-IT" sz="2000" dirty="0">
                <a:latin typeface="Univers Condensed" panose="020B0506020202050204" pitchFamily="34" charset="0"/>
              </a:rPr>
              <a:t> strategico, matchmaking e scouting, </a:t>
            </a:r>
            <a:r>
              <a:rPr lang="it-IT" sz="2000" dirty="0">
                <a:latin typeface="Univers Condensed" panose="020B0506020202050204" pitchFamily="34" charset="0"/>
              </a:rPr>
              <a:t>sviluppo di partnership commerciali</a:t>
            </a:r>
          </a:p>
        </p:txBody>
      </p:sp>
      <p:sp>
        <p:nvSpPr>
          <p:cNvPr id="30" name="CasellaDiTesto 29">
            <a:extLst>
              <a:ext uri="{FF2B5EF4-FFF2-40B4-BE49-F238E27FC236}">
                <a16:creationId xmlns:a16="http://schemas.microsoft.com/office/drawing/2014/main" id="{8FDF013C-4769-D41A-2F75-B4D7E4172ED3}"/>
              </a:ext>
            </a:extLst>
          </p:cNvPr>
          <p:cNvSpPr txBox="1"/>
          <p:nvPr/>
        </p:nvSpPr>
        <p:spPr>
          <a:xfrm>
            <a:off x="2982841" y="1814689"/>
            <a:ext cx="3374331" cy="707886"/>
          </a:xfrm>
          <a:prstGeom prst="rect">
            <a:avLst/>
          </a:prstGeom>
          <a:noFill/>
        </p:spPr>
        <p:txBody>
          <a:bodyPr wrap="square">
            <a:spAutoFit/>
          </a:bodyPr>
          <a:lstStyle/>
          <a:p>
            <a:r>
              <a:rPr lang="it-IT" sz="2000" b="1" dirty="0">
                <a:latin typeface="Univers Condensed" panose="020B0506020202050204" pitchFamily="34" charset="0"/>
                <a:ea typeface="Times New Roman" panose="02020603050405020304" pitchFamily="18" charset="0"/>
              </a:rPr>
              <a:t>rafforzare la competitività internazionale </a:t>
            </a:r>
            <a:r>
              <a:rPr lang="it-IT" sz="2000" dirty="0">
                <a:latin typeface="Univers Condensed" panose="020B0506020202050204" pitchFamily="34" charset="0"/>
                <a:ea typeface="Times New Roman" panose="02020603050405020304" pitchFamily="18" charset="0"/>
              </a:rPr>
              <a:t>delle filiere</a:t>
            </a:r>
            <a:endParaRPr lang="it-IT" sz="2000" dirty="0">
              <a:effectLst/>
              <a:latin typeface="Univers Condensed" panose="020B0506020202050204" pitchFamily="34" charset="0"/>
              <a:ea typeface="Times New Roman" panose="02020603050405020304" pitchFamily="18" charset="0"/>
            </a:endParaRPr>
          </a:p>
        </p:txBody>
      </p:sp>
      <p:sp>
        <p:nvSpPr>
          <p:cNvPr id="5" name="Rettangolo 4">
            <a:extLst>
              <a:ext uri="{FF2B5EF4-FFF2-40B4-BE49-F238E27FC236}">
                <a16:creationId xmlns:a16="http://schemas.microsoft.com/office/drawing/2014/main" id="{955F8173-3B64-53B3-CF56-92AFBE17B072}"/>
              </a:ext>
            </a:extLst>
          </p:cNvPr>
          <p:cNvSpPr/>
          <p:nvPr/>
        </p:nvSpPr>
        <p:spPr>
          <a:xfrm>
            <a:off x="2011680" y="506"/>
            <a:ext cx="4402955" cy="5554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2800" b="1" dirty="0">
                <a:solidFill>
                  <a:schemeClr val="accent1"/>
                </a:solidFill>
                <a:latin typeface="Univers Condensed" panose="020B0506020202050204" pitchFamily="34" charset="0"/>
              </a:rPr>
              <a:t>gli investimenti </a:t>
            </a:r>
          </a:p>
        </p:txBody>
      </p:sp>
      <p:sp>
        <p:nvSpPr>
          <p:cNvPr id="13" name="Freccia a pentagono 12">
            <a:extLst>
              <a:ext uri="{FF2B5EF4-FFF2-40B4-BE49-F238E27FC236}">
                <a16:creationId xmlns:a16="http://schemas.microsoft.com/office/drawing/2014/main" id="{E5E1F765-B574-2A85-5586-11F86CA4D2AA}"/>
              </a:ext>
            </a:extLst>
          </p:cNvPr>
          <p:cNvSpPr/>
          <p:nvPr/>
        </p:nvSpPr>
        <p:spPr>
          <a:xfrm>
            <a:off x="-1" y="435"/>
            <a:ext cx="2915921" cy="555498"/>
          </a:xfrm>
          <a:prstGeom prst="homePlat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it-IT" sz="2800" b="1" dirty="0">
                <a:solidFill>
                  <a:schemeClr val="bg1"/>
                </a:solidFill>
                <a:latin typeface="Univers Condensed" panose="020B0506020202050204" pitchFamily="34" charset="0"/>
              </a:rPr>
              <a:t>Le soluzioni per</a:t>
            </a:r>
          </a:p>
        </p:txBody>
      </p:sp>
      <p:sp>
        <p:nvSpPr>
          <p:cNvPr id="38" name="CasellaDiTesto 37">
            <a:extLst>
              <a:ext uri="{FF2B5EF4-FFF2-40B4-BE49-F238E27FC236}">
                <a16:creationId xmlns:a16="http://schemas.microsoft.com/office/drawing/2014/main" id="{030772DC-0566-B11C-B173-0F28806CAF68}"/>
              </a:ext>
            </a:extLst>
          </p:cNvPr>
          <p:cNvSpPr txBox="1"/>
          <p:nvPr/>
        </p:nvSpPr>
        <p:spPr>
          <a:xfrm>
            <a:off x="2982841" y="2580430"/>
            <a:ext cx="3374331" cy="707886"/>
          </a:xfrm>
          <a:prstGeom prst="rect">
            <a:avLst/>
          </a:prstGeom>
          <a:noFill/>
        </p:spPr>
        <p:txBody>
          <a:bodyPr wrap="square">
            <a:spAutoFit/>
          </a:bodyPr>
          <a:lstStyle/>
          <a:p>
            <a:r>
              <a:rPr lang="it-IT" sz="2000" dirty="0">
                <a:latin typeface="Univers Condensed" panose="020B0506020202050204" pitchFamily="34" charset="0"/>
                <a:ea typeface="Times New Roman" panose="02020603050405020304" pitchFamily="18" charset="0"/>
              </a:rPr>
              <a:t>trovare e formare </a:t>
            </a:r>
            <a:r>
              <a:rPr lang="it-IT" sz="2000" b="1" dirty="0">
                <a:latin typeface="Univers Condensed" panose="020B0506020202050204" pitchFamily="34" charset="0"/>
                <a:ea typeface="Times New Roman" panose="02020603050405020304" pitchFamily="18" charset="0"/>
              </a:rPr>
              <a:t>manodopera qualificata</a:t>
            </a:r>
            <a:endParaRPr lang="it-IT" sz="2000" dirty="0">
              <a:effectLst/>
              <a:latin typeface="Univers Condensed" panose="020B0506020202050204" pitchFamily="34" charset="0"/>
              <a:ea typeface="Times New Roman" panose="02020603050405020304" pitchFamily="18" charset="0"/>
            </a:endParaRPr>
          </a:p>
        </p:txBody>
      </p:sp>
      <p:sp>
        <p:nvSpPr>
          <p:cNvPr id="39" name="CasellaDiTesto 38">
            <a:extLst>
              <a:ext uri="{FF2B5EF4-FFF2-40B4-BE49-F238E27FC236}">
                <a16:creationId xmlns:a16="http://schemas.microsoft.com/office/drawing/2014/main" id="{D37A8584-0249-BB89-A720-3049AFE2EBF2}"/>
              </a:ext>
            </a:extLst>
          </p:cNvPr>
          <p:cNvSpPr txBox="1"/>
          <p:nvPr/>
        </p:nvSpPr>
        <p:spPr>
          <a:xfrm>
            <a:off x="2982840" y="3391127"/>
            <a:ext cx="3374331" cy="707886"/>
          </a:xfrm>
          <a:prstGeom prst="rect">
            <a:avLst/>
          </a:prstGeom>
          <a:noFill/>
        </p:spPr>
        <p:txBody>
          <a:bodyPr wrap="square">
            <a:spAutoFit/>
          </a:bodyPr>
          <a:lstStyle/>
          <a:p>
            <a:r>
              <a:rPr lang="it-IT" sz="2000" b="1" dirty="0">
                <a:latin typeface="Univers Condensed" panose="020B0506020202050204" pitchFamily="34" charset="0"/>
                <a:ea typeface="Times New Roman" panose="02020603050405020304" pitchFamily="18" charset="0"/>
              </a:rPr>
              <a:t>nuove opportunità </a:t>
            </a:r>
            <a:r>
              <a:rPr lang="it-IT" sz="2000" dirty="0">
                <a:latin typeface="Univers Condensed" panose="020B0506020202050204" pitchFamily="34" charset="0"/>
                <a:ea typeface="Times New Roman" panose="02020603050405020304" pitchFamily="18" charset="0"/>
              </a:rPr>
              <a:t>sui mercati strategici</a:t>
            </a:r>
            <a:endParaRPr lang="it-IT" sz="2000" dirty="0">
              <a:effectLst/>
              <a:latin typeface="Univers Condensed" panose="020B0506020202050204" pitchFamily="34" charset="0"/>
              <a:ea typeface="Times New Roman" panose="02020603050405020304" pitchFamily="18" charset="0"/>
            </a:endParaRPr>
          </a:p>
        </p:txBody>
      </p:sp>
      <p:pic>
        <p:nvPicPr>
          <p:cNvPr id="40" name="Elemento grafico 39" descr="Lampadina e ingranaggio con riempimento a tinta unita">
            <a:extLst>
              <a:ext uri="{FF2B5EF4-FFF2-40B4-BE49-F238E27FC236}">
                <a16:creationId xmlns:a16="http://schemas.microsoft.com/office/drawing/2014/main" id="{62FBD7A1-7C82-CECC-5BFC-9FE632A89CB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68439" y="1900560"/>
            <a:ext cx="555498" cy="555498"/>
          </a:xfrm>
          <a:prstGeom prst="rect">
            <a:avLst/>
          </a:prstGeom>
        </p:spPr>
      </p:pic>
      <p:pic>
        <p:nvPicPr>
          <p:cNvPr id="45" name="Elemento grafico 44" descr="Aula con riempimento a tinta unita">
            <a:extLst>
              <a:ext uri="{FF2B5EF4-FFF2-40B4-BE49-F238E27FC236}">
                <a16:creationId xmlns:a16="http://schemas.microsoft.com/office/drawing/2014/main" id="{D56428F7-99FD-E445-F932-BD361A010E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386751" y="2718018"/>
            <a:ext cx="526797" cy="526797"/>
          </a:xfrm>
          <a:prstGeom prst="rect">
            <a:avLst/>
          </a:prstGeom>
        </p:spPr>
      </p:pic>
      <p:pic>
        <p:nvPicPr>
          <p:cNvPr id="8" name="Elemento grafico 7" descr="Mappamondo contorno">
            <a:extLst>
              <a:ext uri="{FF2B5EF4-FFF2-40B4-BE49-F238E27FC236}">
                <a16:creationId xmlns:a16="http://schemas.microsoft.com/office/drawing/2014/main" id="{27E8C8D0-97E4-9C68-8271-E2F2CAAC7DA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357369" y="3410258"/>
            <a:ext cx="585559" cy="585559"/>
          </a:xfrm>
          <a:prstGeom prst="rect">
            <a:avLst/>
          </a:prstGeom>
        </p:spPr>
      </p:pic>
      <p:sp>
        <p:nvSpPr>
          <p:cNvPr id="9" name="Rettangolo con angoli arrotondati 8" descr="Taj Mahal">
            <a:extLst>
              <a:ext uri="{FF2B5EF4-FFF2-40B4-BE49-F238E27FC236}">
                <a16:creationId xmlns:a16="http://schemas.microsoft.com/office/drawing/2014/main" id="{98EB6832-38BA-A6A5-1C0E-18F77BF70738}"/>
              </a:ext>
            </a:extLst>
          </p:cNvPr>
          <p:cNvSpPr/>
          <p:nvPr/>
        </p:nvSpPr>
        <p:spPr>
          <a:xfrm>
            <a:off x="229767" y="2798014"/>
            <a:ext cx="1050368" cy="1300999"/>
          </a:xfrm>
          <a:prstGeom prst="roundRect">
            <a:avLst>
              <a:gd name="adj" fmla="val 12849"/>
            </a:avLst>
          </a:prstGeom>
          <a:blipFill>
            <a:blip r:embed="rId9" cstate="screen">
              <a:alphaModFix amt="93000"/>
              <a:extLst>
                <a:ext uri="{28A0092B-C50C-407E-A947-70E740481C1C}">
                  <a14:useLocalDpi xmlns:a14="http://schemas.microsoft.com/office/drawing/2010/main" val="0"/>
                </a:ext>
              </a:extLst>
            </a:blip>
            <a:srcRect/>
            <a:stretch>
              <a:fillRect/>
            </a:stretch>
          </a:blip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Univers Condensed" panose="020B0506020202050204" pitchFamily="34" charset="0"/>
            </a:endParaRPr>
          </a:p>
        </p:txBody>
      </p:sp>
      <p:grpSp>
        <p:nvGrpSpPr>
          <p:cNvPr id="6" name="Gruppo 5">
            <a:extLst>
              <a:ext uri="{FF2B5EF4-FFF2-40B4-BE49-F238E27FC236}">
                <a16:creationId xmlns:a16="http://schemas.microsoft.com/office/drawing/2014/main" id="{8862F454-FF0D-87D4-B174-BCE1F2E9E08A}"/>
              </a:ext>
            </a:extLst>
          </p:cNvPr>
          <p:cNvGrpSpPr/>
          <p:nvPr/>
        </p:nvGrpSpPr>
        <p:grpSpPr>
          <a:xfrm>
            <a:off x="448358" y="1630179"/>
            <a:ext cx="1050827" cy="1435894"/>
            <a:chOff x="9594939" y="1775647"/>
            <a:chExt cx="1011872" cy="1658744"/>
          </a:xfrm>
          <a:effectLst/>
        </p:grpSpPr>
        <p:pic>
          <p:nvPicPr>
            <p:cNvPr id="17" name="Immagine 16">
              <a:extLst>
                <a:ext uri="{FF2B5EF4-FFF2-40B4-BE49-F238E27FC236}">
                  <a16:creationId xmlns:a16="http://schemas.microsoft.com/office/drawing/2014/main" id="{EA65F459-895E-32D0-FCCD-B0617EA513FC}"/>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l="1563" t="-18422" r="1563" b="-2632"/>
            <a:stretch/>
          </p:blipFill>
          <p:spPr>
            <a:xfrm>
              <a:off x="9594943" y="1775647"/>
              <a:ext cx="1011868" cy="1655696"/>
            </a:xfrm>
            <a:prstGeom prst="roundRect">
              <a:avLst/>
            </a:prstGeom>
            <a:solidFill>
              <a:srgbClr val="FFFFFF">
                <a:shade val="85000"/>
              </a:srgbClr>
            </a:solidFill>
            <a:ln>
              <a:noFill/>
            </a:ln>
            <a:effectLst>
              <a:outerShdw blurRad="50800" dist="38100" dir="2700000" algn="tl" rotWithShape="0">
                <a:prstClr val="black">
                  <a:alpha val="40000"/>
                </a:prstClr>
              </a:outerShdw>
            </a:effectLst>
          </p:spPr>
        </p:pic>
        <p:sp>
          <p:nvSpPr>
            <p:cNvPr id="21" name="Rettangolo 20">
              <a:extLst>
                <a:ext uri="{FF2B5EF4-FFF2-40B4-BE49-F238E27FC236}">
                  <a16:creationId xmlns:a16="http://schemas.microsoft.com/office/drawing/2014/main" id="{4427FAC3-884D-2121-C937-B69FD86D6551}"/>
                </a:ext>
              </a:extLst>
            </p:cNvPr>
            <p:cNvSpPr/>
            <p:nvPr/>
          </p:nvSpPr>
          <p:spPr>
            <a:xfrm>
              <a:off x="9594939" y="3009642"/>
              <a:ext cx="369355" cy="424749"/>
            </a:xfrm>
            <a:prstGeom prst="roundRect">
              <a:avLst/>
            </a:prstGeom>
            <a:solidFill>
              <a:srgbClr val="F2EFEC"/>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Univers Condensed" panose="020B0506020202050204" pitchFamily="34" charset="0"/>
                <a:ea typeface="+mn-ea"/>
                <a:cs typeface="+mn-cs"/>
              </a:endParaRPr>
            </a:p>
          </p:txBody>
        </p:sp>
      </p:grpSp>
    </p:spTree>
    <p:extLst>
      <p:ext uri="{BB962C8B-B14F-4D97-AF65-F5344CB8AC3E}">
        <p14:creationId xmlns:p14="http://schemas.microsoft.com/office/powerpoint/2010/main" val="26979178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F3CB6303-B81F-7BCF-D8F0-C9510965F5FF}"/>
              </a:ext>
            </a:extLst>
          </p:cNvPr>
          <p:cNvSpPr/>
          <p:nvPr/>
        </p:nvSpPr>
        <p:spPr>
          <a:xfrm>
            <a:off x="6414634" y="0"/>
            <a:ext cx="5777366" cy="6858000"/>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latin typeface="Univers Condensed" panose="020B0506020202050204" pitchFamily="34" charset="0"/>
            </a:endParaRPr>
          </a:p>
        </p:txBody>
      </p:sp>
      <p:sp>
        <p:nvSpPr>
          <p:cNvPr id="20" name="Rettangolo 19">
            <a:extLst>
              <a:ext uri="{FF2B5EF4-FFF2-40B4-BE49-F238E27FC236}">
                <a16:creationId xmlns:a16="http://schemas.microsoft.com/office/drawing/2014/main" id="{515216F3-D016-6997-2E80-4DBDDF322B45}"/>
              </a:ext>
            </a:extLst>
          </p:cNvPr>
          <p:cNvSpPr/>
          <p:nvPr/>
        </p:nvSpPr>
        <p:spPr>
          <a:xfrm>
            <a:off x="464644" y="965711"/>
            <a:ext cx="5205344" cy="5554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2400" b="1" dirty="0">
                <a:solidFill>
                  <a:schemeClr val="accent2"/>
                </a:solidFill>
                <a:latin typeface="Univers Condensed" panose="020B0506020202050204" pitchFamily="34" charset="0"/>
              </a:rPr>
              <a:t>«Certificazioni e consulenze» e «Temporary Manager»</a:t>
            </a:r>
          </a:p>
        </p:txBody>
      </p:sp>
      <p:sp>
        <p:nvSpPr>
          <p:cNvPr id="4" name="Segnaposto numero diapositiva 3">
            <a:extLst>
              <a:ext uri="{FF2B5EF4-FFF2-40B4-BE49-F238E27FC236}">
                <a16:creationId xmlns:a16="http://schemas.microsoft.com/office/drawing/2014/main" id="{45A0A2B9-85F9-8097-1D8E-3E44F9CB4362}"/>
              </a:ext>
            </a:extLst>
          </p:cNvPr>
          <p:cNvSpPr>
            <a:spLocks noGrp="1"/>
          </p:cNvSpPr>
          <p:nvPr>
            <p:ph type="sldNum" sz="quarter" idx="12"/>
          </p:nvPr>
        </p:nvSpPr>
        <p:spPr/>
        <p:txBody>
          <a:bodyPr/>
          <a:lstStyle/>
          <a:p>
            <a:fld id="{608DA0FE-9C19-F746-8419-6700E348BF78}" type="slidenum">
              <a:rPr lang="it-IT" smtClean="0"/>
              <a:pPr/>
              <a:t>7</a:t>
            </a:fld>
            <a:endParaRPr lang="it-IT" dirty="0"/>
          </a:p>
        </p:txBody>
      </p:sp>
      <p:sp>
        <p:nvSpPr>
          <p:cNvPr id="11" name="Rettangolo arrotondato 85">
            <a:extLst>
              <a:ext uri="{FF2B5EF4-FFF2-40B4-BE49-F238E27FC236}">
                <a16:creationId xmlns:a16="http://schemas.microsoft.com/office/drawing/2014/main" id="{2EAAA5B9-BF60-4730-D0B1-9CBDD012E647}"/>
              </a:ext>
            </a:extLst>
          </p:cNvPr>
          <p:cNvSpPr/>
          <p:nvPr/>
        </p:nvSpPr>
        <p:spPr>
          <a:xfrm>
            <a:off x="261169" y="4629726"/>
            <a:ext cx="2025506" cy="58556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Per imprese:</a:t>
            </a:r>
          </a:p>
        </p:txBody>
      </p:sp>
      <p:sp>
        <p:nvSpPr>
          <p:cNvPr id="12" name="Rettangolo arrotondato 85">
            <a:extLst>
              <a:ext uri="{FF2B5EF4-FFF2-40B4-BE49-F238E27FC236}">
                <a16:creationId xmlns:a16="http://schemas.microsoft.com/office/drawing/2014/main" id="{5EB40DAC-C240-3162-CCE4-69550B92D39B}"/>
              </a:ext>
            </a:extLst>
          </p:cNvPr>
          <p:cNvSpPr/>
          <p:nvPr/>
        </p:nvSpPr>
        <p:spPr>
          <a:xfrm>
            <a:off x="244699" y="4629726"/>
            <a:ext cx="5564424" cy="1726489"/>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just"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lang="it-IT" sz="1600" dirty="0">
                <a:solidFill>
                  <a:schemeClr val="accent1"/>
                </a:solidFill>
                <a:latin typeface="Univers Condensed" panose="020B0506020202050204" pitchFamily="34" charset="0"/>
              </a:rPr>
              <a:t>c</a:t>
            </a:r>
            <a:r>
              <a:rPr kumimoji="0" lang="it-IT" sz="1600" i="0" u="none" strike="noStrike" kern="1200" cap="none" spc="0" normalizeH="0" baseline="0" noProof="0" dirty="0">
                <a:ln>
                  <a:noFill/>
                </a:ln>
                <a:solidFill>
                  <a:schemeClr val="accent1"/>
                </a:solidFill>
                <a:effectLst/>
                <a:uLnTx/>
                <a:uFillTx/>
                <a:latin typeface="Univers Condensed" panose="020B0506020202050204" pitchFamily="34" charset="0"/>
                <a:ea typeface="+mn-ea"/>
                <a:cs typeface="+mn-cs"/>
              </a:rPr>
              <a:t>he abbiano depositato 2 bilanci </a:t>
            </a:r>
          </a:p>
          <a:p>
            <a:pPr marL="285750" marR="0" lvl="0" indent="-285750" algn="just"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it-IT" sz="1600" i="0" u="none" strike="noStrike" kern="1200" cap="none" spc="0" normalizeH="0" baseline="0" noProof="0" dirty="0">
                <a:ln>
                  <a:noFill/>
                </a:ln>
                <a:solidFill>
                  <a:schemeClr val="accent1"/>
                </a:solidFill>
                <a:effectLst/>
                <a:uLnTx/>
                <a:uFillTx/>
                <a:latin typeface="Univers Condensed" panose="020B0506020202050204" pitchFamily="34" charset="0"/>
                <a:ea typeface="+mn-ea"/>
                <a:cs typeface="+mn-cs"/>
              </a:rPr>
              <a:t>senza necessità di fatturato export</a:t>
            </a:r>
          </a:p>
        </p:txBody>
      </p:sp>
      <p:sp>
        <p:nvSpPr>
          <p:cNvPr id="18" name="CasellaDiTesto 17">
            <a:extLst>
              <a:ext uri="{FF2B5EF4-FFF2-40B4-BE49-F238E27FC236}">
                <a16:creationId xmlns:a16="http://schemas.microsoft.com/office/drawing/2014/main" id="{D383ABEC-8B08-1A2D-E31C-EAF0A7F61887}"/>
              </a:ext>
            </a:extLst>
          </p:cNvPr>
          <p:cNvSpPr txBox="1"/>
          <p:nvPr/>
        </p:nvSpPr>
        <p:spPr>
          <a:xfrm>
            <a:off x="6880204" y="140434"/>
            <a:ext cx="4921677" cy="830997"/>
          </a:xfrm>
          <a:prstGeom prst="rect">
            <a:avLst/>
          </a:prstGeom>
          <a:noFill/>
        </p:spPr>
        <p:txBody>
          <a:bodyPr wrap="square">
            <a:spAutoFit/>
          </a:bodyPr>
          <a:lstStyle/>
          <a:p>
            <a:pPr algn="ctr"/>
            <a:r>
              <a:rPr lang="it-IT" sz="2400" b="1" dirty="0">
                <a:latin typeface="Univers Condensed" panose="020B0506020202050204" pitchFamily="34" charset="0"/>
                <a:ea typeface="Times New Roman" panose="02020603050405020304" pitchFamily="18" charset="0"/>
              </a:rPr>
              <a:t>CON QUESTI STRUMENTI PUOI FINANZIARE</a:t>
            </a:r>
            <a:endParaRPr lang="it-IT" sz="2400" b="1" dirty="0">
              <a:effectLst/>
              <a:latin typeface="Univers Condensed" panose="020B0506020202050204" pitchFamily="34" charset="0"/>
              <a:ea typeface="Times New Roman" panose="02020603050405020304" pitchFamily="18" charset="0"/>
            </a:endParaRPr>
          </a:p>
        </p:txBody>
      </p:sp>
      <p:sp>
        <p:nvSpPr>
          <p:cNvPr id="19" name="CasellaDiTesto 18">
            <a:extLst>
              <a:ext uri="{FF2B5EF4-FFF2-40B4-BE49-F238E27FC236}">
                <a16:creationId xmlns:a16="http://schemas.microsoft.com/office/drawing/2014/main" id="{96C1199E-6C7D-FCA2-1E6D-00DE773EE58C}"/>
              </a:ext>
            </a:extLst>
          </p:cNvPr>
          <p:cNvSpPr txBox="1"/>
          <p:nvPr/>
        </p:nvSpPr>
        <p:spPr>
          <a:xfrm>
            <a:off x="6634083" y="1231575"/>
            <a:ext cx="5338468" cy="4678204"/>
          </a:xfrm>
          <a:prstGeom prst="rect">
            <a:avLst/>
          </a:prstGeom>
          <a:noFill/>
        </p:spPr>
        <p:txBody>
          <a:bodyPr wrap="square">
            <a:spAutoFit/>
          </a:bodyPr>
          <a:lstStyle/>
          <a:p>
            <a:pPr marL="285750" indent="-285750">
              <a:spcAft>
                <a:spcPts val="1800"/>
              </a:spcAft>
              <a:buFont typeface="Wingdings" panose="05000000000000000000" pitchFamily="2" charset="2"/>
              <a:buChar char="§"/>
            </a:pPr>
            <a:r>
              <a:rPr lang="it-IT" sz="2300" b="1" dirty="0">
                <a:latin typeface="Univers Condensed" panose="020B0506020202050204" pitchFamily="34" charset="0"/>
              </a:rPr>
              <a:t>Formazione</a:t>
            </a:r>
            <a:r>
              <a:rPr lang="it-IT" sz="2300" dirty="0">
                <a:latin typeface="Univers Condensed" panose="020B0506020202050204" pitchFamily="34" charset="0"/>
              </a:rPr>
              <a:t> del management e/o del personale su </a:t>
            </a:r>
            <a:r>
              <a:rPr lang="it-IT" sz="2300" b="1" dirty="0">
                <a:latin typeface="Univers Condensed" panose="020B0506020202050204" pitchFamily="34" charset="0"/>
              </a:rPr>
              <a:t>export e internazionalizzazione</a:t>
            </a:r>
          </a:p>
          <a:p>
            <a:pPr marL="285750" indent="-285750">
              <a:spcAft>
                <a:spcPts val="1800"/>
              </a:spcAft>
              <a:buFont typeface="Wingdings" panose="05000000000000000000" pitchFamily="2" charset="2"/>
              <a:buChar char="§"/>
            </a:pPr>
            <a:r>
              <a:rPr lang="it-IT" sz="2300" b="1" dirty="0">
                <a:latin typeface="Univers Condensed" panose="020B0506020202050204" pitchFamily="34" charset="0"/>
              </a:rPr>
              <a:t>Formazione </a:t>
            </a:r>
            <a:r>
              <a:rPr lang="it-IT" sz="2300" dirty="0">
                <a:latin typeface="Univers Condensed" panose="020B0506020202050204" pitchFamily="34" charset="0"/>
              </a:rPr>
              <a:t>di manodopera e di nuove risorse da inserire in azienda</a:t>
            </a:r>
            <a:endParaRPr lang="it-IT" sz="2300" b="1" dirty="0">
              <a:latin typeface="Univers Condensed" panose="020B0506020202050204" pitchFamily="34" charset="0"/>
            </a:endParaRPr>
          </a:p>
          <a:p>
            <a:pPr marL="285750" indent="-285750">
              <a:spcAft>
                <a:spcPts val="1800"/>
              </a:spcAft>
              <a:buFont typeface="Wingdings" panose="05000000000000000000" pitchFamily="2" charset="2"/>
              <a:buChar char="§"/>
            </a:pPr>
            <a:r>
              <a:rPr lang="it-IT" sz="2300" b="1" dirty="0">
                <a:latin typeface="Univers Condensed" panose="020B0506020202050204" pitchFamily="34" charset="0"/>
              </a:rPr>
              <a:t>Innovazione/adeguamento di prodotto/servizio </a:t>
            </a:r>
            <a:r>
              <a:rPr lang="it-IT" sz="2300" dirty="0">
                <a:latin typeface="Univers Condensed" panose="020B0506020202050204" pitchFamily="34" charset="0"/>
              </a:rPr>
              <a:t>e certificazioni internazionali</a:t>
            </a:r>
          </a:p>
          <a:p>
            <a:pPr marL="285750" indent="-285750">
              <a:spcAft>
                <a:spcPts val="1800"/>
              </a:spcAft>
              <a:buFont typeface="Wingdings" panose="05000000000000000000" pitchFamily="2" charset="2"/>
              <a:buChar char="§"/>
            </a:pPr>
            <a:r>
              <a:rPr lang="it-IT" sz="2300" dirty="0">
                <a:latin typeface="Univers Condensed" panose="020B0506020202050204" pitchFamily="34" charset="0"/>
              </a:rPr>
              <a:t>Prestazioni professionali del </a:t>
            </a:r>
            <a:r>
              <a:rPr lang="it-IT" sz="2300" b="1" dirty="0">
                <a:latin typeface="Univers Condensed" panose="020B0506020202050204" pitchFamily="34" charset="0"/>
              </a:rPr>
              <a:t>Temporary Manager</a:t>
            </a:r>
            <a:r>
              <a:rPr lang="it-IT" sz="2300" dirty="0">
                <a:latin typeface="Univers Condensed" panose="020B0506020202050204" pitchFamily="34" charset="0"/>
              </a:rPr>
              <a:t>, attività promozionali, viaggi e soggiorni di potenziali partner esteri</a:t>
            </a:r>
          </a:p>
        </p:txBody>
      </p:sp>
      <p:sp>
        <p:nvSpPr>
          <p:cNvPr id="24" name="Rettangolo 23">
            <a:extLst>
              <a:ext uri="{FF2B5EF4-FFF2-40B4-BE49-F238E27FC236}">
                <a16:creationId xmlns:a16="http://schemas.microsoft.com/office/drawing/2014/main" id="{A8524AE2-D2AC-97E5-DF3D-49CE20696990}"/>
              </a:ext>
            </a:extLst>
          </p:cNvPr>
          <p:cNvSpPr/>
          <p:nvPr/>
        </p:nvSpPr>
        <p:spPr>
          <a:xfrm>
            <a:off x="2011680" y="506"/>
            <a:ext cx="4402955" cy="5554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2800" b="1" dirty="0">
                <a:solidFill>
                  <a:schemeClr val="accent1"/>
                </a:solidFill>
                <a:latin typeface="Univers Condensed" panose="020B0506020202050204" pitchFamily="34" charset="0"/>
              </a:rPr>
              <a:t>le competenze</a:t>
            </a:r>
          </a:p>
        </p:txBody>
      </p:sp>
      <p:sp>
        <p:nvSpPr>
          <p:cNvPr id="25" name="Freccia a pentagono 24">
            <a:extLst>
              <a:ext uri="{FF2B5EF4-FFF2-40B4-BE49-F238E27FC236}">
                <a16:creationId xmlns:a16="http://schemas.microsoft.com/office/drawing/2014/main" id="{106FF025-E525-D70B-BBA9-2826B267BB90}"/>
              </a:ext>
            </a:extLst>
          </p:cNvPr>
          <p:cNvSpPr/>
          <p:nvPr/>
        </p:nvSpPr>
        <p:spPr>
          <a:xfrm>
            <a:off x="-1" y="435"/>
            <a:ext cx="2915921" cy="555498"/>
          </a:xfrm>
          <a:prstGeom prst="homePlat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it-IT" sz="2800" b="1" dirty="0">
                <a:solidFill>
                  <a:schemeClr val="bg1"/>
                </a:solidFill>
                <a:latin typeface="Univers Condensed" panose="020B0506020202050204" pitchFamily="34" charset="0"/>
              </a:rPr>
              <a:t>Le soluzioni per</a:t>
            </a:r>
          </a:p>
        </p:txBody>
      </p:sp>
      <p:pic>
        <p:nvPicPr>
          <p:cNvPr id="5" name="x1.jpg" descr="x1.jpg">
            <a:extLst>
              <a:ext uri="{FF2B5EF4-FFF2-40B4-BE49-F238E27FC236}">
                <a16:creationId xmlns:a16="http://schemas.microsoft.com/office/drawing/2014/main" id="{61DE4494-3DAE-E7E2-1551-918CDB357513}"/>
              </a:ext>
            </a:extLst>
          </p:cNvPr>
          <p:cNvPicPr>
            <a:picLocks noChangeAspect="1"/>
          </p:cNvPicPr>
          <p:nvPr/>
        </p:nvPicPr>
        <p:blipFill>
          <a:blip r:embed="rId2"/>
          <a:srcRect l="28047" r="36305"/>
          <a:stretch>
            <a:fillRect/>
          </a:stretch>
        </p:blipFill>
        <p:spPr>
          <a:xfrm>
            <a:off x="334433" y="1875869"/>
            <a:ext cx="1147569" cy="1742303"/>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effectLst>
        </p:spPr>
      </p:pic>
      <p:pic>
        <p:nvPicPr>
          <p:cNvPr id="6" name="j3.jpg" descr="j3.jpg">
            <a:extLst>
              <a:ext uri="{FF2B5EF4-FFF2-40B4-BE49-F238E27FC236}">
                <a16:creationId xmlns:a16="http://schemas.microsoft.com/office/drawing/2014/main" id="{C76F3D2C-7A5C-03D3-2D36-150B65398C5D}"/>
              </a:ext>
            </a:extLst>
          </p:cNvPr>
          <p:cNvPicPr>
            <a:picLocks noChangeAspect="1"/>
          </p:cNvPicPr>
          <p:nvPr/>
        </p:nvPicPr>
        <p:blipFill>
          <a:blip r:embed="rId3"/>
          <a:srcRect l="32171" r="32171"/>
          <a:stretch>
            <a:fillRect/>
          </a:stretch>
        </p:blipFill>
        <p:spPr>
          <a:xfrm>
            <a:off x="1059806" y="2594729"/>
            <a:ext cx="1147569" cy="1670479"/>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effectLst>
        </p:spPr>
      </p:pic>
      <p:sp>
        <p:nvSpPr>
          <p:cNvPr id="7" name="CasellaDiTesto 6">
            <a:extLst>
              <a:ext uri="{FF2B5EF4-FFF2-40B4-BE49-F238E27FC236}">
                <a16:creationId xmlns:a16="http://schemas.microsoft.com/office/drawing/2014/main" id="{40F33198-CB91-D923-8C9B-A6F426F52CFA}"/>
              </a:ext>
            </a:extLst>
          </p:cNvPr>
          <p:cNvSpPr txBox="1"/>
          <p:nvPr/>
        </p:nvSpPr>
        <p:spPr>
          <a:xfrm>
            <a:off x="3026911" y="2014892"/>
            <a:ext cx="3069089" cy="707886"/>
          </a:xfrm>
          <a:prstGeom prst="rect">
            <a:avLst/>
          </a:prstGeom>
          <a:noFill/>
        </p:spPr>
        <p:txBody>
          <a:bodyPr wrap="square">
            <a:spAutoFit/>
          </a:bodyPr>
          <a:lstStyle/>
          <a:p>
            <a:r>
              <a:rPr lang="it-IT" sz="2000" dirty="0">
                <a:latin typeface="Univers Condensed" panose="020B0506020202050204" pitchFamily="34" charset="0"/>
                <a:ea typeface="Times New Roman" panose="02020603050405020304" pitchFamily="18" charset="0"/>
              </a:rPr>
              <a:t>nuove </a:t>
            </a:r>
            <a:r>
              <a:rPr lang="it-IT" sz="2000" b="1" dirty="0">
                <a:effectLst/>
                <a:latin typeface="Univers Condensed" panose="020B0506020202050204" pitchFamily="34" charset="0"/>
                <a:ea typeface="Times New Roman" panose="02020603050405020304" pitchFamily="18" charset="0"/>
              </a:rPr>
              <a:t>competenze strategiche</a:t>
            </a:r>
            <a:endParaRPr lang="it-IT" sz="2000" dirty="0">
              <a:effectLst/>
              <a:latin typeface="Univers Condensed" panose="020B0506020202050204" pitchFamily="34" charset="0"/>
              <a:ea typeface="Times New Roman" panose="02020603050405020304" pitchFamily="18" charset="0"/>
            </a:endParaRPr>
          </a:p>
        </p:txBody>
      </p:sp>
      <p:sp>
        <p:nvSpPr>
          <p:cNvPr id="8" name="CasellaDiTesto 7">
            <a:extLst>
              <a:ext uri="{FF2B5EF4-FFF2-40B4-BE49-F238E27FC236}">
                <a16:creationId xmlns:a16="http://schemas.microsoft.com/office/drawing/2014/main" id="{38F5BB4F-9AD7-88C0-9FFD-51DAF3584861}"/>
              </a:ext>
            </a:extLst>
          </p:cNvPr>
          <p:cNvSpPr txBox="1"/>
          <p:nvPr/>
        </p:nvSpPr>
        <p:spPr>
          <a:xfrm>
            <a:off x="3067316" y="3713422"/>
            <a:ext cx="2988280" cy="707886"/>
          </a:xfrm>
          <a:prstGeom prst="rect">
            <a:avLst/>
          </a:prstGeom>
          <a:noFill/>
        </p:spPr>
        <p:txBody>
          <a:bodyPr wrap="square">
            <a:spAutoFit/>
          </a:bodyPr>
          <a:lstStyle/>
          <a:p>
            <a:r>
              <a:rPr lang="it-IT" sz="2000" b="1" dirty="0">
                <a:effectLst/>
                <a:latin typeface="Univers Condensed" panose="020B0506020202050204" pitchFamily="34" charset="0"/>
                <a:ea typeface="Times New Roman" panose="02020603050405020304" pitchFamily="18" charset="0"/>
              </a:rPr>
              <a:t>innovazione e certificazioni </a:t>
            </a:r>
            <a:r>
              <a:rPr lang="it-IT" sz="2000" dirty="0">
                <a:effectLst/>
                <a:latin typeface="Univers Condensed" panose="020B0506020202050204" pitchFamily="34" charset="0"/>
                <a:ea typeface="Times New Roman" panose="02020603050405020304" pitchFamily="18" charset="0"/>
              </a:rPr>
              <a:t>di prodotto</a:t>
            </a:r>
          </a:p>
        </p:txBody>
      </p:sp>
      <p:sp>
        <p:nvSpPr>
          <p:cNvPr id="9" name="CasellaDiTesto 8">
            <a:extLst>
              <a:ext uri="{FF2B5EF4-FFF2-40B4-BE49-F238E27FC236}">
                <a16:creationId xmlns:a16="http://schemas.microsoft.com/office/drawing/2014/main" id="{842C62D2-0BF9-26C7-8830-F0DDA0F35EA8}"/>
              </a:ext>
            </a:extLst>
          </p:cNvPr>
          <p:cNvSpPr txBox="1"/>
          <p:nvPr/>
        </p:nvSpPr>
        <p:spPr>
          <a:xfrm>
            <a:off x="3041808" y="2875758"/>
            <a:ext cx="3054192" cy="707886"/>
          </a:xfrm>
          <a:prstGeom prst="rect">
            <a:avLst/>
          </a:prstGeom>
          <a:noFill/>
        </p:spPr>
        <p:txBody>
          <a:bodyPr wrap="square">
            <a:spAutoFit/>
          </a:bodyPr>
          <a:lstStyle/>
          <a:p>
            <a:r>
              <a:rPr lang="it-IT" sz="2000" dirty="0">
                <a:latin typeface="Univers Condensed" panose="020B0506020202050204" pitchFamily="34" charset="0"/>
                <a:ea typeface="Times New Roman" panose="02020603050405020304" pitchFamily="18" charset="0"/>
              </a:rPr>
              <a:t>s</a:t>
            </a:r>
            <a:r>
              <a:rPr lang="it-IT" sz="2000" dirty="0">
                <a:effectLst/>
                <a:latin typeface="Univers Condensed" panose="020B0506020202050204" pitchFamily="34" charset="0"/>
                <a:ea typeface="Times New Roman" panose="02020603050405020304" pitchFamily="18" charset="0"/>
              </a:rPr>
              <a:t>upporto di una </a:t>
            </a:r>
            <a:r>
              <a:rPr lang="it-IT" sz="2000" b="1" dirty="0">
                <a:effectLst/>
                <a:latin typeface="Univers Condensed" panose="020B0506020202050204" pitchFamily="34" charset="0"/>
                <a:ea typeface="Times New Roman" panose="02020603050405020304" pitchFamily="18" charset="0"/>
              </a:rPr>
              <a:t>figura esperta</a:t>
            </a:r>
            <a:endParaRPr lang="it-IT" sz="2000" dirty="0">
              <a:effectLst/>
              <a:latin typeface="Univers Condensed" panose="020B0506020202050204" pitchFamily="34" charset="0"/>
              <a:ea typeface="Times New Roman" panose="02020603050405020304" pitchFamily="18" charset="0"/>
            </a:endParaRPr>
          </a:p>
        </p:txBody>
      </p:sp>
      <p:pic>
        <p:nvPicPr>
          <p:cNvPr id="10" name="Elemento grafico 9" descr="Stretta di mano con riempimento a tinta unita">
            <a:extLst>
              <a:ext uri="{FF2B5EF4-FFF2-40B4-BE49-F238E27FC236}">
                <a16:creationId xmlns:a16="http://schemas.microsoft.com/office/drawing/2014/main" id="{E92239D1-9595-BE1D-2EA1-81C9C3394E9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438071" y="2894110"/>
            <a:ext cx="563333" cy="563333"/>
          </a:xfrm>
          <a:prstGeom prst="rect">
            <a:avLst/>
          </a:prstGeom>
        </p:spPr>
      </p:pic>
      <p:pic>
        <p:nvPicPr>
          <p:cNvPr id="13" name="Elemento grafico 12" descr="Lampadina e ingranaggio con riempimento a tinta unita">
            <a:extLst>
              <a:ext uri="{FF2B5EF4-FFF2-40B4-BE49-F238E27FC236}">
                <a16:creationId xmlns:a16="http://schemas.microsoft.com/office/drawing/2014/main" id="{344ABFA3-A2C2-AB61-45C8-A73D240370B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407028" y="3694953"/>
            <a:ext cx="600230" cy="600230"/>
          </a:xfrm>
          <a:prstGeom prst="rect">
            <a:avLst/>
          </a:prstGeom>
        </p:spPr>
      </p:pic>
      <p:pic>
        <p:nvPicPr>
          <p:cNvPr id="14" name="Elemento grafico 13" descr="Aula con riempimento a tinta unita">
            <a:extLst>
              <a:ext uri="{FF2B5EF4-FFF2-40B4-BE49-F238E27FC236}">
                <a16:creationId xmlns:a16="http://schemas.microsoft.com/office/drawing/2014/main" id="{52266206-7675-ABF4-3AD7-F287A59200C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499877" y="2101635"/>
            <a:ext cx="442794" cy="442794"/>
          </a:xfrm>
          <a:prstGeom prst="rect">
            <a:avLst/>
          </a:prstGeom>
        </p:spPr>
      </p:pic>
      <p:sp>
        <p:nvSpPr>
          <p:cNvPr id="15" name="CasellaDiTesto 14">
            <a:extLst>
              <a:ext uri="{FF2B5EF4-FFF2-40B4-BE49-F238E27FC236}">
                <a16:creationId xmlns:a16="http://schemas.microsoft.com/office/drawing/2014/main" id="{C3B9F0AB-B804-32B5-F0CF-7BD5B80D5C9B}"/>
              </a:ext>
            </a:extLst>
          </p:cNvPr>
          <p:cNvSpPr txBox="1"/>
          <p:nvPr/>
        </p:nvSpPr>
        <p:spPr>
          <a:xfrm>
            <a:off x="276719" y="5989702"/>
            <a:ext cx="6156960" cy="338554"/>
          </a:xfrm>
          <a:prstGeom prst="rect">
            <a:avLst/>
          </a:prstGeom>
          <a:noFill/>
        </p:spPr>
        <p:txBody>
          <a:bodyPr wrap="square">
            <a:spAutoFit/>
          </a:bodyPr>
          <a:lstStyle/>
          <a:p>
            <a:r>
              <a:rPr lang="it-IT" sz="1600" b="1" dirty="0">
                <a:solidFill>
                  <a:schemeClr val="accent2"/>
                </a:solidFill>
                <a:latin typeface="Univers Condensed" panose="020B0506020202050204" pitchFamily="34" charset="0"/>
                <a:ea typeface="Times New Roman" panose="02020603050405020304" pitchFamily="18" charset="0"/>
              </a:rPr>
              <a:t>Novità:</a:t>
            </a:r>
            <a:r>
              <a:rPr lang="it-IT" sz="1600" dirty="0">
                <a:latin typeface="Univers Condensed" panose="020B0506020202050204" pitchFamily="34" charset="0"/>
                <a:ea typeface="Times New Roman" panose="02020603050405020304" pitchFamily="18" charset="0"/>
              </a:rPr>
              <a:t> condizioni dedicate per </a:t>
            </a:r>
            <a:r>
              <a:rPr lang="it-IT" sz="1600" b="1" dirty="0">
                <a:latin typeface="Univers Condensed" panose="020B0506020202050204" pitchFamily="34" charset="0"/>
              </a:rPr>
              <a:t>imprese con interessi in USA</a:t>
            </a:r>
          </a:p>
        </p:txBody>
      </p:sp>
    </p:spTree>
    <p:extLst>
      <p:ext uri="{BB962C8B-B14F-4D97-AF65-F5344CB8AC3E}">
        <p14:creationId xmlns:p14="http://schemas.microsoft.com/office/powerpoint/2010/main" val="12497642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magine 12" descr="Immagine 11">
            <a:extLst>
              <a:ext uri="{FF2B5EF4-FFF2-40B4-BE49-F238E27FC236}">
                <a16:creationId xmlns:a16="http://schemas.microsoft.com/office/drawing/2014/main" id="{E453B884-EAD4-4B71-6351-7AEE64F91B29}"/>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551121" y="3005480"/>
            <a:ext cx="1029294" cy="1497047"/>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effectLst>
        </p:spPr>
      </p:pic>
      <p:pic>
        <p:nvPicPr>
          <p:cNvPr id="5" name="tr.jpg" descr="tr.jpg">
            <a:extLst>
              <a:ext uri="{FF2B5EF4-FFF2-40B4-BE49-F238E27FC236}">
                <a16:creationId xmlns:a16="http://schemas.microsoft.com/office/drawing/2014/main" id="{3D2A1278-1CD1-1DB4-D526-81F7C611F550}"/>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1456629" y="2606388"/>
            <a:ext cx="1010540" cy="1525364"/>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effectLst>
        </p:spPr>
      </p:pic>
      <p:sp>
        <p:nvSpPr>
          <p:cNvPr id="2" name="Rettangolo 1">
            <a:extLst>
              <a:ext uri="{FF2B5EF4-FFF2-40B4-BE49-F238E27FC236}">
                <a16:creationId xmlns:a16="http://schemas.microsoft.com/office/drawing/2014/main" id="{F3CB6303-B81F-7BCF-D8F0-C9510965F5FF}"/>
              </a:ext>
            </a:extLst>
          </p:cNvPr>
          <p:cNvSpPr/>
          <p:nvPr/>
        </p:nvSpPr>
        <p:spPr>
          <a:xfrm>
            <a:off x="6414634" y="0"/>
            <a:ext cx="5777366" cy="6858000"/>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latin typeface="Univers Condensed" panose="020B0506020202050204" pitchFamily="34" charset="0"/>
            </a:endParaRPr>
          </a:p>
        </p:txBody>
      </p:sp>
      <p:sp>
        <p:nvSpPr>
          <p:cNvPr id="20" name="Rettangolo 19">
            <a:extLst>
              <a:ext uri="{FF2B5EF4-FFF2-40B4-BE49-F238E27FC236}">
                <a16:creationId xmlns:a16="http://schemas.microsoft.com/office/drawing/2014/main" id="{515216F3-D016-6997-2E80-4DBDDF322B45}"/>
              </a:ext>
            </a:extLst>
          </p:cNvPr>
          <p:cNvSpPr/>
          <p:nvPr/>
        </p:nvSpPr>
        <p:spPr>
          <a:xfrm>
            <a:off x="549169" y="833538"/>
            <a:ext cx="5205344" cy="5554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2400" b="1" dirty="0">
                <a:solidFill>
                  <a:schemeClr val="accent2"/>
                </a:solidFill>
                <a:latin typeface="Univers Condensed" panose="020B0506020202050204" pitchFamily="34" charset="0"/>
              </a:rPr>
              <a:t>«Fiere ed Eventi», «E-Commerce» e «Inserimento Mercati»</a:t>
            </a:r>
          </a:p>
        </p:txBody>
      </p:sp>
      <p:sp>
        <p:nvSpPr>
          <p:cNvPr id="4" name="Segnaposto numero diapositiva 3">
            <a:extLst>
              <a:ext uri="{FF2B5EF4-FFF2-40B4-BE49-F238E27FC236}">
                <a16:creationId xmlns:a16="http://schemas.microsoft.com/office/drawing/2014/main" id="{45A0A2B9-85F9-8097-1D8E-3E44F9CB4362}"/>
              </a:ext>
            </a:extLst>
          </p:cNvPr>
          <p:cNvSpPr>
            <a:spLocks noGrp="1"/>
          </p:cNvSpPr>
          <p:nvPr>
            <p:ph type="sldNum" sz="quarter" idx="12"/>
          </p:nvPr>
        </p:nvSpPr>
        <p:spPr/>
        <p:txBody>
          <a:bodyPr/>
          <a:lstStyle/>
          <a:p>
            <a:fld id="{608DA0FE-9C19-F746-8419-6700E348BF78}" type="slidenum">
              <a:rPr lang="it-IT" smtClean="0"/>
              <a:pPr/>
              <a:t>8</a:t>
            </a:fld>
            <a:endParaRPr lang="it-IT" dirty="0"/>
          </a:p>
        </p:txBody>
      </p:sp>
      <p:sp>
        <p:nvSpPr>
          <p:cNvPr id="11" name="Rettangolo arrotondato 85">
            <a:extLst>
              <a:ext uri="{FF2B5EF4-FFF2-40B4-BE49-F238E27FC236}">
                <a16:creationId xmlns:a16="http://schemas.microsoft.com/office/drawing/2014/main" id="{2EAAA5B9-BF60-4730-D0B1-9CBDD012E647}"/>
              </a:ext>
            </a:extLst>
          </p:cNvPr>
          <p:cNvSpPr/>
          <p:nvPr/>
        </p:nvSpPr>
        <p:spPr>
          <a:xfrm>
            <a:off x="237683" y="4663142"/>
            <a:ext cx="2025506" cy="58556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Univers Condensed" panose="020B0506020202050204" pitchFamily="34" charset="0"/>
                <a:ea typeface="+mn-ea"/>
                <a:cs typeface="+mn-cs"/>
              </a:rPr>
              <a:t>Per imprese:</a:t>
            </a:r>
          </a:p>
        </p:txBody>
      </p:sp>
      <p:sp>
        <p:nvSpPr>
          <p:cNvPr id="12" name="Rettangolo arrotondato 85">
            <a:extLst>
              <a:ext uri="{FF2B5EF4-FFF2-40B4-BE49-F238E27FC236}">
                <a16:creationId xmlns:a16="http://schemas.microsoft.com/office/drawing/2014/main" id="{5EB40DAC-C240-3162-CCE4-69550B92D39B}"/>
              </a:ext>
            </a:extLst>
          </p:cNvPr>
          <p:cNvSpPr/>
          <p:nvPr/>
        </p:nvSpPr>
        <p:spPr>
          <a:xfrm>
            <a:off x="257674" y="4733516"/>
            <a:ext cx="5564424" cy="1726489"/>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just"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it-IT" sz="1600" i="0" u="none" strike="noStrike" kern="1200" cap="none" spc="0" normalizeH="0" baseline="0" noProof="0" dirty="0">
                <a:ln>
                  <a:noFill/>
                </a:ln>
                <a:solidFill>
                  <a:schemeClr val="accent1"/>
                </a:solidFill>
                <a:effectLst/>
                <a:uLnTx/>
                <a:uFillTx/>
                <a:latin typeface="Univers Condensed" panose="020B0506020202050204" pitchFamily="34" charset="0"/>
                <a:ea typeface="+mn-ea"/>
                <a:cs typeface="+mn-cs"/>
              </a:rPr>
              <a:t>che abbiano depositato 2 bilanci </a:t>
            </a:r>
            <a:r>
              <a:rPr kumimoji="0" lang="it-IT" sz="1600" b="1" i="0" u="none" strike="noStrike" kern="1200" cap="none" spc="0" normalizeH="0" baseline="0" noProof="0" dirty="0">
                <a:ln>
                  <a:noFill/>
                </a:ln>
                <a:solidFill>
                  <a:schemeClr val="accent1"/>
                </a:solidFill>
                <a:effectLst/>
                <a:uLnTx/>
                <a:uFillTx/>
                <a:latin typeface="Univers Condensed" panose="020B0506020202050204" pitchFamily="34" charset="0"/>
                <a:ea typeface="+mn-ea"/>
                <a:cs typeface="+mn-cs"/>
              </a:rPr>
              <a:t>oppure </a:t>
            </a:r>
            <a:r>
              <a:rPr kumimoji="0" lang="it-IT" sz="1600" i="0" u="none" strike="noStrike" kern="1200" cap="none" spc="0" normalizeH="0" baseline="0" noProof="0" dirty="0">
                <a:ln>
                  <a:noFill/>
                </a:ln>
                <a:solidFill>
                  <a:schemeClr val="accent1"/>
                </a:solidFill>
                <a:effectLst/>
                <a:uLnTx/>
                <a:uFillTx/>
                <a:latin typeface="Univers Condensed" panose="020B0506020202050204" pitchFamily="34" charset="0"/>
                <a:ea typeface="+mn-ea"/>
                <a:cs typeface="+mn-cs"/>
              </a:rPr>
              <a:t>1 bilancio per soli fiere ed eventi fino a €150.000</a:t>
            </a:r>
          </a:p>
          <a:p>
            <a:pPr marL="285750" marR="0" lvl="0" indent="-285750" algn="just"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it-IT" sz="1600" i="0" u="none" strike="noStrike" kern="1200" cap="none" spc="0" normalizeH="0" baseline="0" noProof="0" dirty="0">
                <a:ln>
                  <a:noFill/>
                </a:ln>
                <a:solidFill>
                  <a:schemeClr val="accent1"/>
                </a:solidFill>
                <a:effectLst/>
                <a:uLnTx/>
                <a:uFillTx/>
                <a:latin typeface="Univers Condensed" panose="020B0506020202050204" pitchFamily="34" charset="0"/>
                <a:ea typeface="+mn-ea"/>
                <a:cs typeface="+mn-cs"/>
              </a:rPr>
              <a:t>senza necessità di fatturato export</a:t>
            </a:r>
          </a:p>
        </p:txBody>
      </p:sp>
      <p:sp>
        <p:nvSpPr>
          <p:cNvPr id="18" name="CasellaDiTesto 17">
            <a:extLst>
              <a:ext uri="{FF2B5EF4-FFF2-40B4-BE49-F238E27FC236}">
                <a16:creationId xmlns:a16="http://schemas.microsoft.com/office/drawing/2014/main" id="{D383ABEC-8B08-1A2D-E31C-EAF0A7F61887}"/>
              </a:ext>
            </a:extLst>
          </p:cNvPr>
          <p:cNvSpPr txBox="1"/>
          <p:nvPr/>
        </p:nvSpPr>
        <p:spPr>
          <a:xfrm>
            <a:off x="6905240" y="140434"/>
            <a:ext cx="4921677" cy="830997"/>
          </a:xfrm>
          <a:prstGeom prst="rect">
            <a:avLst/>
          </a:prstGeom>
          <a:noFill/>
        </p:spPr>
        <p:txBody>
          <a:bodyPr wrap="square">
            <a:spAutoFit/>
          </a:bodyPr>
          <a:lstStyle/>
          <a:p>
            <a:pPr algn="ctr"/>
            <a:r>
              <a:rPr lang="it-IT" sz="2400" b="1" dirty="0">
                <a:latin typeface="Univers Condensed" panose="020B0506020202050204" pitchFamily="34" charset="0"/>
                <a:ea typeface="Times New Roman" panose="02020603050405020304" pitchFamily="18" charset="0"/>
              </a:rPr>
              <a:t>CON QUESTI STRUMENTI PUOI FINANZIARE</a:t>
            </a:r>
            <a:endParaRPr lang="it-IT" sz="2400" b="1" dirty="0">
              <a:effectLst/>
              <a:latin typeface="Univers Condensed" panose="020B0506020202050204" pitchFamily="34" charset="0"/>
              <a:ea typeface="Times New Roman" panose="02020603050405020304" pitchFamily="18" charset="0"/>
            </a:endParaRPr>
          </a:p>
        </p:txBody>
      </p:sp>
      <p:sp>
        <p:nvSpPr>
          <p:cNvPr id="19" name="CasellaDiTesto 18">
            <a:extLst>
              <a:ext uri="{FF2B5EF4-FFF2-40B4-BE49-F238E27FC236}">
                <a16:creationId xmlns:a16="http://schemas.microsoft.com/office/drawing/2014/main" id="{96C1199E-6C7D-FCA2-1E6D-00DE773EE58C}"/>
              </a:ext>
            </a:extLst>
          </p:cNvPr>
          <p:cNvSpPr txBox="1"/>
          <p:nvPr/>
        </p:nvSpPr>
        <p:spPr>
          <a:xfrm>
            <a:off x="6696844" y="1528121"/>
            <a:ext cx="5338468" cy="4678204"/>
          </a:xfrm>
          <a:prstGeom prst="rect">
            <a:avLst/>
          </a:prstGeom>
          <a:noFill/>
        </p:spPr>
        <p:txBody>
          <a:bodyPr wrap="square">
            <a:spAutoFit/>
          </a:bodyPr>
          <a:lstStyle/>
          <a:p>
            <a:pPr marL="285750" indent="-285750">
              <a:spcAft>
                <a:spcPts val="1800"/>
              </a:spcAft>
              <a:buFont typeface="Wingdings" panose="05000000000000000000" pitchFamily="2" charset="2"/>
              <a:buChar char="§"/>
            </a:pPr>
            <a:r>
              <a:rPr lang="it-IT" sz="2300" dirty="0">
                <a:latin typeface="Univers Condensed" panose="020B0506020202050204" pitchFamily="34" charset="0"/>
              </a:rPr>
              <a:t>Apertura/potenziamento di </a:t>
            </a:r>
            <a:r>
              <a:rPr lang="it-IT" sz="2300" b="1" dirty="0">
                <a:latin typeface="Univers Condensed" panose="020B0506020202050204" pitchFamily="34" charset="0"/>
              </a:rPr>
              <a:t>negozio, corner, showroom o ufficio all’estero</a:t>
            </a:r>
          </a:p>
          <a:p>
            <a:pPr marL="285750" indent="-285750">
              <a:spcAft>
                <a:spcPts val="1800"/>
              </a:spcAft>
              <a:buFont typeface="Wingdings" panose="05000000000000000000" pitchFamily="2" charset="2"/>
              <a:buChar char="§"/>
            </a:pPr>
            <a:r>
              <a:rPr lang="it-IT" sz="2300" b="1" dirty="0">
                <a:latin typeface="Univers Condensed" panose="020B0506020202050204" pitchFamily="34" charset="0"/>
              </a:rPr>
              <a:t>Partecipazione a fiere</a:t>
            </a:r>
            <a:r>
              <a:rPr lang="it-IT" sz="2300" dirty="0">
                <a:latin typeface="Univers Condensed" panose="020B0506020202050204" pitchFamily="34" charset="0"/>
              </a:rPr>
              <a:t>, area espositiva, logistica, attività promozionale, organizzazione di B2B </a:t>
            </a:r>
          </a:p>
          <a:p>
            <a:pPr marL="285750" indent="-285750">
              <a:spcAft>
                <a:spcPts val="1800"/>
              </a:spcAft>
              <a:buFont typeface="Wingdings" panose="05000000000000000000" pitchFamily="2" charset="2"/>
              <a:buChar char="§"/>
            </a:pPr>
            <a:r>
              <a:rPr lang="it-IT" sz="2300" dirty="0">
                <a:latin typeface="Univers Condensed" panose="020B0506020202050204" pitchFamily="34" charset="0"/>
              </a:rPr>
              <a:t>Creazione/rinnovamento di una </a:t>
            </a:r>
            <a:r>
              <a:rPr lang="it-IT" sz="2300" b="1" dirty="0">
                <a:latin typeface="Univers Condensed" panose="020B0506020202050204" pitchFamily="34" charset="0"/>
              </a:rPr>
              <a:t>piattaforma e-commerce propria</a:t>
            </a:r>
            <a:r>
              <a:rPr lang="it-IT" sz="2300" dirty="0">
                <a:latin typeface="Univers Condensed" panose="020B0506020202050204" pitchFamily="34" charset="0"/>
              </a:rPr>
              <a:t>, accesso a un </a:t>
            </a:r>
            <a:r>
              <a:rPr lang="it-IT" sz="2300" b="1" dirty="0">
                <a:latin typeface="Univers Condensed" panose="020B0506020202050204" pitchFamily="34" charset="0"/>
              </a:rPr>
              <a:t>marketplace</a:t>
            </a:r>
            <a:r>
              <a:rPr lang="it-IT" sz="2300" dirty="0">
                <a:latin typeface="Univers Condensed" panose="020B0506020202050204" pitchFamily="34" charset="0"/>
              </a:rPr>
              <a:t>, configurazione di app, sicurezza dati, indicizzazione e web marketing</a:t>
            </a:r>
          </a:p>
          <a:p>
            <a:pPr marL="285750" indent="-285750" algn="just">
              <a:spcAft>
                <a:spcPts val="1800"/>
              </a:spcAft>
              <a:buFont typeface="Wingdings" panose="05000000000000000000" pitchFamily="2" charset="2"/>
              <a:buChar char="§"/>
            </a:pPr>
            <a:endParaRPr lang="it-IT" sz="2300" dirty="0">
              <a:latin typeface="Univers Condensed" panose="020B0506020202050204" pitchFamily="34" charset="0"/>
            </a:endParaRPr>
          </a:p>
        </p:txBody>
      </p:sp>
      <p:sp>
        <p:nvSpPr>
          <p:cNvPr id="24" name="Rettangolo 23">
            <a:extLst>
              <a:ext uri="{FF2B5EF4-FFF2-40B4-BE49-F238E27FC236}">
                <a16:creationId xmlns:a16="http://schemas.microsoft.com/office/drawing/2014/main" id="{A8524AE2-D2AC-97E5-DF3D-49CE20696990}"/>
              </a:ext>
            </a:extLst>
          </p:cNvPr>
          <p:cNvSpPr/>
          <p:nvPr/>
        </p:nvSpPr>
        <p:spPr>
          <a:xfrm>
            <a:off x="2683461" y="435"/>
            <a:ext cx="3717340" cy="5554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2800" b="1" dirty="0">
                <a:solidFill>
                  <a:schemeClr val="accent1"/>
                </a:solidFill>
                <a:latin typeface="Univers Condensed" panose="020B0506020202050204" pitchFamily="34" charset="0"/>
              </a:rPr>
              <a:t>la crescita all’estero</a:t>
            </a:r>
          </a:p>
        </p:txBody>
      </p:sp>
      <p:sp>
        <p:nvSpPr>
          <p:cNvPr id="25" name="Freccia a pentagono 24">
            <a:extLst>
              <a:ext uri="{FF2B5EF4-FFF2-40B4-BE49-F238E27FC236}">
                <a16:creationId xmlns:a16="http://schemas.microsoft.com/office/drawing/2014/main" id="{106FF025-E525-D70B-BBA9-2826B267BB90}"/>
              </a:ext>
            </a:extLst>
          </p:cNvPr>
          <p:cNvSpPr/>
          <p:nvPr/>
        </p:nvSpPr>
        <p:spPr>
          <a:xfrm>
            <a:off x="-1" y="435"/>
            <a:ext cx="2915921" cy="555498"/>
          </a:xfrm>
          <a:prstGeom prst="homePlat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it-IT" sz="2800" b="1" dirty="0">
                <a:solidFill>
                  <a:schemeClr val="bg1"/>
                </a:solidFill>
                <a:latin typeface="Univers Condensed" panose="020B0506020202050204" pitchFamily="34" charset="0"/>
              </a:rPr>
              <a:t>Le soluzioni per</a:t>
            </a:r>
          </a:p>
        </p:txBody>
      </p:sp>
      <p:sp>
        <p:nvSpPr>
          <p:cNvPr id="14" name="CasellaDiTesto 13">
            <a:extLst>
              <a:ext uri="{FF2B5EF4-FFF2-40B4-BE49-F238E27FC236}">
                <a16:creationId xmlns:a16="http://schemas.microsoft.com/office/drawing/2014/main" id="{ED756D18-AD9B-5BD4-03C6-721EBB229773}"/>
              </a:ext>
            </a:extLst>
          </p:cNvPr>
          <p:cNvSpPr txBox="1"/>
          <p:nvPr/>
        </p:nvSpPr>
        <p:spPr>
          <a:xfrm>
            <a:off x="3279958" y="1721779"/>
            <a:ext cx="3120844" cy="1015663"/>
          </a:xfrm>
          <a:prstGeom prst="rect">
            <a:avLst/>
          </a:prstGeom>
          <a:noFill/>
        </p:spPr>
        <p:txBody>
          <a:bodyPr wrap="square">
            <a:spAutoFit/>
          </a:bodyPr>
          <a:lstStyle/>
          <a:p>
            <a:r>
              <a:rPr lang="it-IT" sz="2000" dirty="0">
                <a:latin typeface="Univers Condensed" panose="020B0506020202050204" pitchFamily="34" charset="0"/>
                <a:ea typeface="Times New Roman" panose="02020603050405020304" pitchFamily="18" charset="0"/>
              </a:rPr>
              <a:t>trovare nuovi </a:t>
            </a:r>
            <a:r>
              <a:rPr lang="it-IT" sz="2000" b="1" dirty="0">
                <a:effectLst/>
                <a:latin typeface="Univers Condensed" panose="020B0506020202050204" pitchFamily="34" charset="0"/>
                <a:ea typeface="Times New Roman" panose="02020603050405020304" pitchFamily="18" charset="0"/>
              </a:rPr>
              <a:t>clienti </a:t>
            </a:r>
            <a:r>
              <a:rPr lang="it-IT" sz="2000" dirty="0">
                <a:effectLst/>
                <a:latin typeface="Univers Condensed" panose="020B0506020202050204" pitchFamily="34" charset="0"/>
                <a:ea typeface="Times New Roman" panose="02020603050405020304" pitchFamily="18" charset="0"/>
              </a:rPr>
              <a:t>e aumentare </a:t>
            </a:r>
            <a:r>
              <a:rPr lang="it-IT" sz="2000" b="1" dirty="0">
                <a:effectLst/>
                <a:latin typeface="Univers Condensed" panose="020B0506020202050204" pitchFamily="34" charset="0"/>
                <a:ea typeface="Times New Roman" panose="02020603050405020304" pitchFamily="18" charset="0"/>
              </a:rPr>
              <a:t>le vendite all’estero</a:t>
            </a:r>
            <a:endParaRPr lang="it-IT" sz="2000" dirty="0">
              <a:effectLst/>
              <a:latin typeface="Univers Condensed" panose="020B0506020202050204" pitchFamily="34" charset="0"/>
              <a:ea typeface="Times New Roman" panose="02020603050405020304" pitchFamily="18" charset="0"/>
            </a:endParaRPr>
          </a:p>
        </p:txBody>
      </p:sp>
      <p:pic>
        <p:nvPicPr>
          <p:cNvPr id="15" name="Elemento grafico 14" descr="Stretta di mano con riempimento a tinta unita">
            <a:extLst>
              <a:ext uri="{FF2B5EF4-FFF2-40B4-BE49-F238E27FC236}">
                <a16:creationId xmlns:a16="http://schemas.microsoft.com/office/drawing/2014/main" id="{28DBE40D-A009-9A2C-9DE4-580B2555436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23472" y="1725458"/>
            <a:ext cx="642652" cy="642652"/>
          </a:xfrm>
          <a:prstGeom prst="rect">
            <a:avLst/>
          </a:prstGeom>
        </p:spPr>
      </p:pic>
      <p:sp>
        <p:nvSpPr>
          <p:cNvPr id="16" name="CasellaDiTesto 15">
            <a:extLst>
              <a:ext uri="{FF2B5EF4-FFF2-40B4-BE49-F238E27FC236}">
                <a16:creationId xmlns:a16="http://schemas.microsoft.com/office/drawing/2014/main" id="{75B65B6E-2E37-89A8-1F79-7542ECE21A65}"/>
              </a:ext>
            </a:extLst>
          </p:cNvPr>
          <p:cNvSpPr txBox="1"/>
          <p:nvPr/>
        </p:nvSpPr>
        <p:spPr>
          <a:xfrm>
            <a:off x="3283412" y="2912103"/>
            <a:ext cx="2692637" cy="707886"/>
          </a:xfrm>
          <a:prstGeom prst="rect">
            <a:avLst/>
          </a:prstGeom>
          <a:noFill/>
        </p:spPr>
        <p:txBody>
          <a:bodyPr wrap="square">
            <a:spAutoFit/>
          </a:bodyPr>
          <a:lstStyle/>
          <a:p>
            <a:r>
              <a:rPr lang="it-IT" sz="2000" b="1" dirty="0">
                <a:latin typeface="Univers Condensed" panose="020B0506020202050204" pitchFamily="34" charset="0"/>
                <a:ea typeface="Times New Roman" panose="02020603050405020304" pitchFamily="18" charset="0"/>
              </a:rPr>
              <a:t>nuove strutture commerciali all’estero</a:t>
            </a:r>
            <a:endParaRPr lang="it-IT" sz="2000" b="1" dirty="0">
              <a:effectLst/>
              <a:latin typeface="Univers Condensed" panose="020B0506020202050204" pitchFamily="34" charset="0"/>
              <a:ea typeface="Times New Roman" panose="02020603050405020304" pitchFamily="18" charset="0"/>
            </a:endParaRPr>
          </a:p>
        </p:txBody>
      </p:sp>
      <p:sp>
        <p:nvSpPr>
          <p:cNvPr id="21" name="CasellaDiTesto 20">
            <a:extLst>
              <a:ext uri="{FF2B5EF4-FFF2-40B4-BE49-F238E27FC236}">
                <a16:creationId xmlns:a16="http://schemas.microsoft.com/office/drawing/2014/main" id="{CA630941-893C-8979-7170-0DCE7316A22E}"/>
              </a:ext>
            </a:extLst>
          </p:cNvPr>
          <p:cNvSpPr txBox="1"/>
          <p:nvPr/>
        </p:nvSpPr>
        <p:spPr>
          <a:xfrm>
            <a:off x="3266124" y="3867223"/>
            <a:ext cx="2882185" cy="707886"/>
          </a:xfrm>
          <a:prstGeom prst="rect">
            <a:avLst/>
          </a:prstGeom>
          <a:noFill/>
        </p:spPr>
        <p:txBody>
          <a:bodyPr wrap="square">
            <a:spAutoFit/>
          </a:bodyPr>
          <a:lstStyle/>
          <a:p>
            <a:r>
              <a:rPr lang="it-IT" sz="2000" b="1" dirty="0">
                <a:latin typeface="Univers Condensed" panose="020B0506020202050204" pitchFamily="34" charset="0"/>
                <a:ea typeface="Times New Roman" panose="02020603050405020304" pitchFamily="18" charset="0"/>
              </a:rPr>
              <a:t>attività promozionali </a:t>
            </a:r>
            <a:r>
              <a:rPr lang="it-IT" sz="2000" dirty="0">
                <a:latin typeface="Univers Condensed" panose="020B0506020202050204" pitchFamily="34" charset="0"/>
                <a:ea typeface="Times New Roman" panose="02020603050405020304" pitchFamily="18" charset="0"/>
              </a:rPr>
              <a:t>online e in presenza</a:t>
            </a:r>
            <a:endParaRPr lang="it-IT" sz="2000" dirty="0">
              <a:effectLst/>
              <a:latin typeface="Univers Condensed" panose="020B0506020202050204" pitchFamily="34" charset="0"/>
              <a:ea typeface="Times New Roman" panose="02020603050405020304" pitchFamily="18" charset="0"/>
            </a:endParaRPr>
          </a:p>
        </p:txBody>
      </p:sp>
      <p:pic>
        <p:nvPicPr>
          <p:cNvPr id="22" name="Elemento grafico 21" descr="Globo terrestre: Americhe con riempimento a tinta unita">
            <a:extLst>
              <a:ext uri="{FF2B5EF4-FFF2-40B4-BE49-F238E27FC236}">
                <a16:creationId xmlns:a16="http://schemas.microsoft.com/office/drawing/2014/main" id="{BDFC63ED-F1D4-8F43-2941-44B0D419078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735987" y="3810384"/>
            <a:ext cx="537993" cy="537993"/>
          </a:xfrm>
          <a:prstGeom prst="rect">
            <a:avLst/>
          </a:prstGeom>
        </p:spPr>
      </p:pic>
      <p:pic>
        <p:nvPicPr>
          <p:cNvPr id="23" name="Elemento grafico 22" descr="Negozio con riempimento a tinta unita">
            <a:extLst>
              <a:ext uri="{FF2B5EF4-FFF2-40B4-BE49-F238E27FC236}">
                <a16:creationId xmlns:a16="http://schemas.microsoft.com/office/drawing/2014/main" id="{E264AC68-9711-D281-7E64-21165FF6ADF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745515" y="2969874"/>
            <a:ext cx="537993" cy="537993"/>
          </a:xfrm>
          <a:prstGeom prst="rect">
            <a:avLst/>
          </a:prstGeom>
        </p:spPr>
      </p:pic>
      <p:pic>
        <p:nvPicPr>
          <p:cNvPr id="7" name="shutterstock_1066234574.jpg" descr="shutterstock_1066234574.jpg">
            <a:extLst>
              <a:ext uri="{FF2B5EF4-FFF2-40B4-BE49-F238E27FC236}">
                <a16:creationId xmlns:a16="http://schemas.microsoft.com/office/drawing/2014/main" id="{78FB5C1F-3F68-27BA-094F-B5ACDC9A22D3}"/>
              </a:ext>
            </a:extLst>
          </p:cNvPr>
          <p:cNvPicPr>
            <a:picLocks noChangeAspect="1"/>
          </p:cNvPicPr>
          <p:nvPr/>
        </p:nvPicPr>
        <p:blipFill>
          <a:blip r:embed="rId10"/>
          <a:srcRect l="5524" r="52201"/>
          <a:stretch>
            <a:fillRect/>
          </a:stretch>
        </p:blipFill>
        <p:spPr>
          <a:xfrm>
            <a:off x="808792" y="1866340"/>
            <a:ext cx="1076318" cy="1514816"/>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effectLst>
        </p:spPr>
      </p:pic>
      <p:sp>
        <p:nvSpPr>
          <p:cNvPr id="3" name="CasellaDiTesto 2">
            <a:extLst>
              <a:ext uri="{FF2B5EF4-FFF2-40B4-BE49-F238E27FC236}">
                <a16:creationId xmlns:a16="http://schemas.microsoft.com/office/drawing/2014/main" id="{E49CECB5-93A6-53B0-DC78-CF69B7609F33}"/>
              </a:ext>
            </a:extLst>
          </p:cNvPr>
          <p:cNvSpPr txBox="1"/>
          <p:nvPr/>
        </p:nvSpPr>
        <p:spPr>
          <a:xfrm>
            <a:off x="257674" y="6081762"/>
            <a:ext cx="6156960" cy="338554"/>
          </a:xfrm>
          <a:prstGeom prst="rect">
            <a:avLst/>
          </a:prstGeom>
          <a:noFill/>
        </p:spPr>
        <p:txBody>
          <a:bodyPr wrap="square">
            <a:spAutoFit/>
          </a:bodyPr>
          <a:lstStyle/>
          <a:p>
            <a:r>
              <a:rPr lang="it-IT" sz="1600" b="1" dirty="0">
                <a:solidFill>
                  <a:schemeClr val="accent2"/>
                </a:solidFill>
                <a:latin typeface="Univers Condensed" panose="020B0506020202050204" pitchFamily="34" charset="0"/>
                <a:ea typeface="Times New Roman" panose="02020603050405020304" pitchFamily="18" charset="0"/>
              </a:rPr>
              <a:t>Novità:</a:t>
            </a:r>
            <a:r>
              <a:rPr lang="it-IT" sz="1600" dirty="0">
                <a:latin typeface="Univers Condensed" panose="020B0506020202050204" pitchFamily="34" charset="0"/>
                <a:ea typeface="Times New Roman" panose="02020603050405020304" pitchFamily="18" charset="0"/>
              </a:rPr>
              <a:t> condizioni dedicate per </a:t>
            </a:r>
            <a:r>
              <a:rPr lang="it-IT" sz="1600" b="1" dirty="0">
                <a:latin typeface="Univers Condensed" panose="020B0506020202050204" pitchFamily="34" charset="0"/>
              </a:rPr>
              <a:t>imprese con interessi in USA</a:t>
            </a:r>
          </a:p>
        </p:txBody>
      </p:sp>
    </p:spTree>
    <p:extLst>
      <p:ext uri="{BB962C8B-B14F-4D97-AF65-F5344CB8AC3E}">
        <p14:creationId xmlns:p14="http://schemas.microsoft.com/office/powerpoint/2010/main" val="31358712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tangolo 3">
            <a:extLst>
              <a:ext uri="{FF2B5EF4-FFF2-40B4-BE49-F238E27FC236}">
                <a16:creationId xmlns:a16="http://schemas.microsoft.com/office/drawing/2014/main" id="{A0DA8C3C-982C-F7A0-15EB-4D18619BF6C3}"/>
              </a:ext>
            </a:extLst>
          </p:cNvPr>
          <p:cNvSpPr/>
          <p:nvPr/>
        </p:nvSpPr>
        <p:spPr>
          <a:xfrm>
            <a:off x="-59326" y="3906"/>
            <a:ext cx="4972049" cy="6858000"/>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latin typeface="Univers Condensed" panose="020B0506020202050204" pitchFamily="34" charset="0"/>
            </a:endParaRPr>
          </a:p>
        </p:txBody>
      </p:sp>
      <p:sp>
        <p:nvSpPr>
          <p:cNvPr id="7" name="Segnaposto testo 17">
            <a:extLst>
              <a:ext uri="{FF2B5EF4-FFF2-40B4-BE49-F238E27FC236}">
                <a16:creationId xmlns:a16="http://schemas.microsoft.com/office/drawing/2014/main" id="{233A2F1A-9258-A252-0D9B-D7D658A4978F}"/>
              </a:ext>
            </a:extLst>
          </p:cNvPr>
          <p:cNvSpPr txBox="1">
            <a:spLocks/>
          </p:cNvSpPr>
          <p:nvPr/>
        </p:nvSpPr>
        <p:spPr>
          <a:xfrm>
            <a:off x="334433" y="357718"/>
            <a:ext cx="4346010" cy="38311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it-IT"/>
            </a:defPPr>
            <a:lvl1pPr algn="ctr">
              <a:defRPr>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it-IT" sz="2800" b="1" dirty="0">
                <a:solidFill>
                  <a:schemeClr val="tx1"/>
                </a:solidFill>
                <a:latin typeface="Univers Condensed" panose="020B0506020202050204" pitchFamily="34" charset="0"/>
              </a:rPr>
              <a:t>Presenta la tua richiesta di finanziamento</a:t>
            </a:r>
          </a:p>
        </p:txBody>
      </p:sp>
      <p:sp>
        <p:nvSpPr>
          <p:cNvPr id="16" name="CasellaDiTesto 15">
            <a:extLst>
              <a:ext uri="{FF2B5EF4-FFF2-40B4-BE49-F238E27FC236}">
                <a16:creationId xmlns:a16="http://schemas.microsoft.com/office/drawing/2014/main" id="{33A57614-8EF8-7257-6684-1E85CF544F23}"/>
              </a:ext>
            </a:extLst>
          </p:cNvPr>
          <p:cNvSpPr txBox="1"/>
          <p:nvPr/>
        </p:nvSpPr>
        <p:spPr>
          <a:xfrm>
            <a:off x="4978400" y="6542774"/>
            <a:ext cx="5430520" cy="230832"/>
          </a:xfrm>
          <a:prstGeom prst="rect">
            <a:avLst/>
          </a:prstGeom>
          <a:noFill/>
        </p:spPr>
        <p:txBody>
          <a:bodyPr wrap="square">
            <a:spAutoFit/>
          </a:bodyPr>
          <a:lstStyle/>
          <a:p>
            <a:pPr>
              <a:spcAft>
                <a:spcPts val="300"/>
              </a:spcAft>
            </a:pPr>
            <a:r>
              <a:rPr lang="it-IT" sz="900" i="1" dirty="0">
                <a:latin typeface="Univers Condensed" panose="020B0506020202050204" pitchFamily="34" charset="0"/>
              </a:rPr>
              <a:t>Disclaimer: requisiti, termini e condizioni indicati nella Circolare operativa sul sito SIMEST</a:t>
            </a:r>
          </a:p>
        </p:txBody>
      </p:sp>
      <p:sp>
        <p:nvSpPr>
          <p:cNvPr id="10" name="Segnaposto testo 17">
            <a:extLst>
              <a:ext uri="{FF2B5EF4-FFF2-40B4-BE49-F238E27FC236}">
                <a16:creationId xmlns:a16="http://schemas.microsoft.com/office/drawing/2014/main" id="{9200F50E-1F8E-AE0E-2762-033154F2ACEC}"/>
              </a:ext>
            </a:extLst>
          </p:cNvPr>
          <p:cNvSpPr txBox="1">
            <a:spLocks/>
          </p:cNvSpPr>
          <p:nvPr/>
        </p:nvSpPr>
        <p:spPr>
          <a:xfrm>
            <a:off x="5300194" y="207586"/>
            <a:ext cx="6051360" cy="383116"/>
          </a:xfrm>
          <a:prstGeom prst="rect">
            <a:avLst/>
          </a:prstGeom>
        </p:spPr>
        <p:txBody>
          <a:bodyPr vert="horz" lIns="0" tIns="0" rIns="0" bIns="0" rtlCol="0" anchor="t" anchorCtr="0">
            <a:noAutofit/>
          </a:bodyPr>
          <a:lstStyle>
            <a:lvl1pPr marL="0" indent="0" algn="l" defTabSz="914377" rtl="0" eaLnBrk="1" latinLnBrk="0" hangingPunct="1">
              <a:lnSpc>
                <a:spcPct val="90000"/>
              </a:lnSpc>
              <a:spcBef>
                <a:spcPts val="1000"/>
              </a:spcBef>
              <a:buFont typeface="Arial" panose="020B0604020202020204" pitchFamily="34" charset="0"/>
              <a:buNone/>
              <a:defRPr sz="24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l" defTabSz="914377"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it-IT" sz="2800" dirty="0">
                <a:latin typeface="Univers Condensed" panose="020B0506020202050204" pitchFamily="34" charset="0"/>
              </a:rPr>
              <a:t>I passi successivi</a:t>
            </a:r>
          </a:p>
        </p:txBody>
      </p:sp>
      <p:sp>
        <p:nvSpPr>
          <p:cNvPr id="11" name="CasellaDiTesto 10">
            <a:extLst>
              <a:ext uri="{FF2B5EF4-FFF2-40B4-BE49-F238E27FC236}">
                <a16:creationId xmlns:a16="http://schemas.microsoft.com/office/drawing/2014/main" id="{C33B2181-646A-7BB0-B212-710DADC5F111}"/>
              </a:ext>
            </a:extLst>
          </p:cNvPr>
          <p:cNvSpPr txBox="1"/>
          <p:nvPr/>
        </p:nvSpPr>
        <p:spPr>
          <a:xfrm>
            <a:off x="6055896" y="5473225"/>
            <a:ext cx="5790872" cy="646331"/>
          </a:xfrm>
          <a:prstGeom prst="rect">
            <a:avLst/>
          </a:prstGeom>
          <a:noFill/>
        </p:spPr>
        <p:txBody>
          <a:bodyPr wrap="square">
            <a:spAutoFit/>
          </a:bodyPr>
          <a:lstStyle/>
          <a:p>
            <a:pPr lvl="0"/>
            <a:r>
              <a:rPr lang="it-IT" dirty="0">
                <a:effectLst/>
                <a:latin typeface="Univers Condensed" panose="020B0506020202050204" pitchFamily="34" charset="0"/>
                <a:ea typeface="Times New Roman" panose="02020603050405020304" pitchFamily="18" charset="0"/>
              </a:rPr>
              <a:t>Effettua la </a:t>
            </a:r>
            <a:r>
              <a:rPr lang="it-IT" b="1" dirty="0">
                <a:effectLst/>
                <a:latin typeface="Univers Condensed" panose="020B0506020202050204" pitchFamily="34" charset="0"/>
                <a:ea typeface="Times New Roman" panose="02020603050405020304" pitchFamily="18" charset="0"/>
              </a:rPr>
              <a:t>rendicontazione delle spese </a:t>
            </a:r>
            <a:r>
              <a:rPr lang="it-IT" dirty="0">
                <a:effectLst/>
                <a:latin typeface="Univers Condensed" panose="020B0506020202050204" pitchFamily="34" charset="0"/>
                <a:ea typeface="Times New Roman" panose="02020603050405020304" pitchFamily="18" charset="0"/>
              </a:rPr>
              <a:t>e</a:t>
            </a:r>
            <a:r>
              <a:rPr lang="it-IT" b="1" dirty="0">
                <a:effectLst/>
                <a:latin typeface="Univers Condensed" panose="020B0506020202050204" pitchFamily="34" charset="0"/>
                <a:ea typeface="Times New Roman" panose="02020603050405020304" pitchFamily="18" charset="0"/>
              </a:rPr>
              <a:t> </a:t>
            </a:r>
            <a:r>
              <a:rPr lang="it-IT" dirty="0">
                <a:effectLst/>
                <a:latin typeface="Univers Condensed" panose="020B0506020202050204" pitchFamily="34" charset="0"/>
                <a:ea typeface="Times New Roman" panose="02020603050405020304" pitchFamily="18" charset="0"/>
              </a:rPr>
              <a:t>ricevi l’</a:t>
            </a:r>
            <a:r>
              <a:rPr lang="it-IT" b="1" dirty="0">
                <a:effectLst/>
                <a:latin typeface="Univers Condensed" panose="020B0506020202050204" pitchFamily="34" charset="0"/>
                <a:ea typeface="Times New Roman" panose="02020603050405020304" pitchFamily="18" charset="0"/>
              </a:rPr>
              <a:t>erogazione delle ulteriori tranche</a:t>
            </a:r>
          </a:p>
        </p:txBody>
      </p:sp>
      <p:sp>
        <p:nvSpPr>
          <p:cNvPr id="13" name="CasellaDiTesto 12">
            <a:extLst>
              <a:ext uri="{FF2B5EF4-FFF2-40B4-BE49-F238E27FC236}">
                <a16:creationId xmlns:a16="http://schemas.microsoft.com/office/drawing/2014/main" id="{62196529-9E5E-491F-074E-F63BE9D830C9}"/>
              </a:ext>
            </a:extLst>
          </p:cNvPr>
          <p:cNvSpPr txBox="1"/>
          <p:nvPr/>
        </p:nvSpPr>
        <p:spPr>
          <a:xfrm>
            <a:off x="6059092" y="3500901"/>
            <a:ext cx="5988529" cy="646331"/>
          </a:xfrm>
          <a:prstGeom prst="rect">
            <a:avLst/>
          </a:prstGeom>
          <a:noFill/>
        </p:spPr>
        <p:txBody>
          <a:bodyPr wrap="square">
            <a:spAutoFit/>
          </a:bodyPr>
          <a:lstStyle/>
          <a:p>
            <a:pPr lvl="0"/>
            <a:r>
              <a:rPr lang="it-IT" dirty="0">
                <a:effectLst/>
                <a:latin typeface="Univers Condensed" panose="020B0506020202050204" pitchFamily="34" charset="0"/>
                <a:ea typeface="Times New Roman" panose="02020603050405020304" pitchFamily="18" charset="0"/>
              </a:rPr>
              <a:t>Soddisfa, entro le tempistiche indicate, le </a:t>
            </a:r>
            <a:r>
              <a:rPr lang="it-IT" b="1" dirty="0">
                <a:effectLst/>
                <a:latin typeface="Univers Condensed" panose="020B0506020202050204" pitchFamily="34" charset="0"/>
                <a:ea typeface="Times New Roman" panose="02020603050405020304" pitchFamily="18" charset="0"/>
              </a:rPr>
              <a:t>condizioni sospensive </a:t>
            </a:r>
            <a:r>
              <a:rPr lang="it-IT" dirty="0">
                <a:effectLst/>
                <a:latin typeface="Univers Condensed" panose="020B0506020202050204" pitchFamily="34" charset="0"/>
                <a:ea typeface="Times New Roman" panose="02020603050405020304" pitchFamily="18" charset="0"/>
              </a:rPr>
              <a:t>e </a:t>
            </a:r>
            <a:r>
              <a:rPr lang="it-IT" b="1" dirty="0">
                <a:effectLst/>
                <a:latin typeface="Univers Condensed" panose="020B0506020202050204" pitchFamily="34" charset="0"/>
                <a:ea typeface="Times New Roman" panose="02020603050405020304" pitchFamily="18" charset="0"/>
              </a:rPr>
              <a:t>stipula il contratto di finanziamento</a:t>
            </a:r>
          </a:p>
        </p:txBody>
      </p:sp>
      <p:sp>
        <p:nvSpPr>
          <p:cNvPr id="14" name="CasellaDiTesto 13">
            <a:extLst>
              <a:ext uri="{FF2B5EF4-FFF2-40B4-BE49-F238E27FC236}">
                <a16:creationId xmlns:a16="http://schemas.microsoft.com/office/drawing/2014/main" id="{DB6A5738-8E56-70D3-EB11-718D7E08BE85}"/>
              </a:ext>
            </a:extLst>
          </p:cNvPr>
          <p:cNvSpPr txBox="1"/>
          <p:nvPr/>
        </p:nvSpPr>
        <p:spPr>
          <a:xfrm>
            <a:off x="6055896" y="1125826"/>
            <a:ext cx="6136104" cy="923330"/>
          </a:xfrm>
          <a:prstGeom prst="rect">
            <a:avLst/>
          </a:prstGeom>
          <a:noFill/>
        </p:spPr>
        <p:txBody>
          <a:bodyPr wrap="square">
            <a:spAutoFit/>
          </a:bodyPr>
          <a:lstStyle/>
          <a:p>
            <a:pPr lvl="0"/>
            <a:r>
              <a:rPr lang="it-IT" dirty="0">
                <a:effectLst/>
                <a:latin typeface="Univers Condensed" panose="020B0506020202050204" pitchFamily="34" charset="0"/>
                <a:ea typeface="Times New Roman" panose="02020603050405020304" pitchFamily="18" charset="0"/>
              </a:rPr>
              <a:t>SIMEST avvierà l’</a:t>
            </a:r>
            <a:r>
              <a:rPr lang="it-IT" b="1" dirty="0">
                <a:effectLst/>
                <a:latin typeface="Univers Condensed" panose="020B0506020202050204" pitchFamily="34" charset="0"/>
                <a:ea typeface="Times New Roman" panose="02020603050405020304" pitchFamily="18" charset="0"/>
              </a:rPr>
              <a:t>attività</a:t>
            </a:r>
            <a:r>
              <a:rPr lang="it-IT" dirty="0">
                <a:effectLst/>
                <a:latin typeface="Univers Condensed" panose="020B0506020202050204" pitchFamily="34" charset="0"/>
                <a:ea typeface="Times New Roman" panose="02020603050405020304" pitchFamily="18" charset="0"/>
              </a:rPr>
              <a:t> </a:t>
            </a:r>
            <a:r>
              <a:rPr lang="it-IT" b="1" dirty="0">
                <a:latin typeface="Univers Condensed" panose="020B0506020202050204" pitchFamily="34" charset="0"/>
                <a:ea typeface="Times New Roman" panose="02020603050405020304" pitchFamily="18" charset="0"/>
              </a:rPr>
              <a:t>is</a:t>
            </a:r>
            <a:r>
              <a:rPr lang="it-IT" b="1" dirty="0">
                <a:effectLst/>
                <a:latin typeface="Univers Condensed" panose="020B0506020202050204" pitchFamily="34" charset="0"/>
                <a:ea typeface="Times New Roman" panose="02020603050405020304" pitchFamily="18" charset="0"/>
              </a:rPr>
              <a:t>truttoria </a:t>
            </a:r>
            <a:r>
              <a:rPr lang="it-IT" dirty="0">
                <a:effectLst/>
                <a:latin typeface="Univers Condensed" panose="020B0506020202050204" pitchFamily="34" charset="0"/>
                <a:ea typeface="Times New Roman" panose="02020603050405020304" pitchFamily="18" charset="0"/>
              </a:rPr>
              <a:t>mediante la valutazione amministrativa, patrimoniale ed economico-finanziaria, legale e di compliance</a:t>
            </a:r>
          </a:p>
        </p:txBody>
      </p:sp>
      <p:sp>
        <p:nvSpPr>
          <p:cNvPr id="15" name="CasellaDiTesto 14">
            <a:extLst>
              <a:ext uri="{FF2B5EF4-FFF2-40B4-BE49-F238E27FC236}">
                <a16:creationId xmlns:a16="http://schemas.microsoft.com/office/drawing/2014/main" id="{33639F51-C73A-E6AF-8A77-95FF4F1C0370}"/>
              </a:ext>
            </a:extLst>
          </p:cNvPr>
          <p:cNvSpPr txBox="1"/>
          <p:nvPr/>
        </p:nvSpPr>
        <p:spPr>
          <a:xfrm>
            <a:off x="6059092" y="2538416"/>
            <a:ext cx="5988529" cy="646331"/>
          </a:xfrm>
          <a:prstGeom prst="rect">
            <a:avLst/>
          </a:prstGeom>
          <a:noFill/>
        </p:spPr>
        <p:txBody>
          <a:bodyPr wrap="square">
            <a:spAutoFit/>
          </a:bodyPr>
          <a:lstStyle/>
          <a:p>
            <a:pPr lvl="0"/>
            <a:r>
              <a:rPr lang="it-IT" dirty="0">
                <a:effectLst/>
                <a:latin typeface="Univers Condensed" panose="020B0506020202050204" pitchFamily="34" charset="0"/>
                <a:ea typeface="Times New Roman" panose="02020603050405020304" pitchFamily="18" charset="0"/>
              </a:rPr>
              <a:t>Attendi la </a:t>
            </a:r>
            <a:r>
              <a:rPr lang="it-IT" b="1" dirty="0">
                <a:effectLst/>
                <a:latin typeface="Univers Condensed" panose="020B0506020202050204" pitchFamily="34" charset="0"/>
                <a:ea typeface="Times New Roman" panose="02020603050405020304" pitchFamily="18" charset="0"/>
              </a:rPr>
              <a:t>delibera del Comitato Agevolazioni </a:t>
            </a:r>
            <a:r>
              <a:rPr lang="it-IT" dirty="0">
                <a:effectLst/>
                <a:latin typeface="Univers Condensed" panose="020B0506020202050204" pitchFamily="34" charset="0"/>
                <a:ea typeface="Times New Roman" panose="02020603050405020304" pitchFamily="18" charset="0"/>
              </a:rPr>
              <a:t>(di norma mensile) </a:t>
            </a:r>
            <a:endParaRPr lang="it-IT" b="1" dirty="0">
              <a:effectLst/>
              <a:latin typeface="Univers Condensed" panose="020B0506020202050204" pitchFamily="34" charset="0"/>
              <a:ea typeface="Times New Roman" panose="02020603050405020304" pitchFamily="18" charset="0"/>
            </a:endParaRPr>
          </a:p>
        </p:txBody>
      </p:sp>
      <p:sp>
        <p:nvSpPr>
          <p:cNvPr id="18" name="CasellaDiTesto 17">
            <a:extLst>
              <a:ext uri="{FF2B5EF4-FFF2-40B4-BE49-F238E27FC236}">
                <a16:creationId xmlns:a16="http://schemas.microsoft.com/office/drawing/2014/main" id="{C0D6538A-644D-7577-9A21-17FD774E9BCF}"/>
              </a:ext>
            </a:extLst>
          </p:cNvPr>
          <p:cNvSpPr txBox="1"/>
          <p:nvPr/>
        </p:nvSpPr>
        <p:spPr>
          <a:xfrm>
            <a:off x="6059898" y="4669196"/>
            <a:ext cx="6038467" cy="369332"/>
          </a:xfrm>
          <a:prstGeom prst="rect">
            <a:avLst/>
          </a:prstGeom>
          <a:noFill/>
        </p:spPr>
        <p:txBody>
          <a:bodyPr wrap="square">
            <a:spAutoFit/>
          </a:bodyPr>
          <a:lstStyle/>
          <a:p>
            <a:r>
              <a:rPr lang="it-IT" dirty="0">
                <a:effectLst/>
                <a:latin typeface="Univers Condensed" panose="020B0506020202050204" pitchFamily="34" charset="0"/>
                <a:ea typeface="Times New Roman" panose="02020603050405020304" pitchFamily="18" charset="0"/>
              </a:rPr>
              <a:t>Ricevi la prima tranche dell’</a:t>
            </a:r>
            <a:r>
              <a:rPr lang="it-IT" b="1" dirty="0">
                <a:effectLst/>
                <a:latin typeface="Univers Condensed" panose="020B0506020202050204" pitchFamily="34" charset="0"/>
                <a:ea typeface="Times New Roman" panose="02020603050405020304" pitchFamily="18" charset="0"/>
              </a:rPr>
              <a:t>erogazione</a:t>
            </a:r>
            <a:endParaRPr lang="it-IT" dirty="0">
              <a:latin typeface="Univers Condensed" panose="020B0506020202050204" pitchFamily="34" charset="0"/>
            </a:endParaRPr>
          </a:p>
        </p:txBody>
      </p:sp>
      <p:pic>
        <p:nvPicPr>
          <p:cNvPr id="20" name="Elemento grafico 19" descr="Contratto contorno">
            <a:extLst>
              <a:ext uri="{FF2B5EF4-FFF2-40B4-BE49-F238E27FC236}">
                <a16:creationId xmlns:a16="http://schemas.microsoft.com/office/drawing/2014/main" id="{CF06FA6C-F02F-5616-155B-ED7521765C6E}"/>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195869" y="3554091"/>
            <a:ext cx="581175" cy="581175"/>
          </a:xfrm>
          <a:prstGeom prst="rect">
            <a:avLst/>
          </a:prstGeom>
        </p:spPr>
      </p:pic>
      <p:pic>
        <p:nvPicPr>
          <p:cNvPr id="29" name="Elemento grafico 28" descr="Appunti mischiati contorno">
            <a:extLst>
              <a:ext uri="{FF2B5EF4-FFF2-40B4-BE49-F238E27FC236}">
                <a16:creationId xmlns:a16="http://schemas.microsoft.com/office/drawing/2014/main" id="{D472266F-5E61-38E0-54F2-7D1A5C2B383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175085" y="1277217"/>
            <a:ext cx="620548" cy="620548"/>
          </a:xfrm>
          <a:prstGeom prst="rect">
            <a:avLst/>
          </a:prstGeom>
        </p:spPr>
      </p:pic>
      <p:pic>
        <p:nvPicPr>
          <p:cNvPr id="31" name="Elemento grafico 30" descr="Monete contorno">
            <a:extLst>
              <a:ext uri="{FF2B5EF4-FFF2-40B4-BE49-F238E27FC236}">
                <a16:creationId xmlns:a16="http://schemas.microsoft.com/office/drawing/2014/main" id="{33E03EC5-01F3-6E53-D6DF-489A7441747F}"/>
              </a:ext>
            </a:extLst>
          </p:cNvPr>
          <p:cNvPicPr>
            <a:picLocks noChangeAspect="1"/>
          </p:cNvPicPr>
          <p:nvPr/>
        </p:nvPicPr>
        <p:blipFill>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95869" y="4604331"/>
            <a:ext cx="581175" cy="581175"/>
          </a:xfrm>
          <a:prstGeom prst="rect">
            <a:avLst/>
          </a:prstGeom>
        </p:spPr>
      </p:pic>
      <p:pic>
        <p:nvPicPr>
          <p:cNvPr id="34" name="Elemento grafico 33" descr="Badge Tick1 con riempimento a tinta unita">
            <a:extLst>
              <a:ext uri="{FF2B5EF4-FFF2-40B4-BE49-F238E27FC236}">
                <a16:creationId xmlns:a16="http://schemas.microsoft.com/office/drawing/2014/main" id="{57248666-2970-9DE8-1F26-FE431C87418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175085" y="2484216"/>
            <a:ext cx="620548" cy="620548"/>
          </a:xfrm>
          <a:prstGeom prst="rect">
            <a:avLst/>
          </a:prstGeom>
        </p:spPr>
      </p:pic>
      <p:cxnSp>
        <p:nvCxnSpPr>
          <p:cNvPr id="39" name="Connettore diritto 38">
            <a:extLst>
              <a:ext uri="{FF2B5EF4-FFF2-40B4-BE49-F238E27FC236}">
                <a16:creationId xmlns:a16="http://schemas.microsoft.com/office/drawing/2014/main" id="{42874F0E-F582-9E19-6808-E3CDC5BB5D1D}"/>
              </a:ext>
            </a:extLst>
          </p:cNvPr>
          <p:cNvCxnSpPr>
            <a:cxnSpLocks/>
          </p:cNvCxnSpPr>
          <p:nvPr/>
        </p:nvCxnSpPr>
        <p:spPr>
          <a:xfrm>
            <a:off x="5478415" y="1910918"/>
            <a:ext cx="6943" cy="438445"/>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0" name="Connettore diritto 39">
            <a:extLst>
              <a:ext uri="{FF2B5EF4-FFF2-40B4-BE49-F238E27FC236}">
                <a16:creationId xmlns:a16="http://schemas.microsoft.com/office/drawing/2014/main" id="{E7CD370F-7DDF-EC50-0409-25E3F8A52E07}"/>
              </a:ext>
            </a:extLst>
          </p:cNvPr>
          <p:cNvCxnSpPr>
            <a:cxnSpLocks/>
          </p:cNvCxnSpPr>
          <p:nvPr/>
        </p:nvCxnSpPr>
        <p:spPr>
          <a:xfrm>
            <a:off x="5485358" y="3084151"/>
            <a:ext cx="1099" cy="449327"/>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1" name="Connettore diritto 40">
            <a:extLst>
              <a:ext uri="{FF2B5EF4-FFF2-40B4-BE49-F238E27FC236}">
                <a16:creationId xmlns:a16="http://schemas.microsoft.com/office/drawing/2014/main" id="{4B0A7975-53BC-1976-217A-F6C004D06807}"/>
              </a:ext>
            </a:extLst>
          </p:cNvPr>
          <p:cNvCxnSpPr>
            <a:cxnSpLocks/>
          </p:cNvCxnSpPr>
          <p:nvPr/>
        </p:nvCxnSpPr>
        <p:spPr>
          <a:xfrm>
            <a:off x="5478415" y="4147232"/>
            <a:ext cx="0" cy="436486"/>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4" name="Connettore diritto 43">
            <a:extLst>
              <a:ext uri="{FF2B5EF4-FFF2-40B4-BE49-F238E27FC236}">
                <a16:creationId xmlns:a16="http://schemas.microsoft.com/office/drawing/2014/main" id="{B82A0D20-ED92-08FD-C96B-8B11DEAC216E}"/>
              </a:ext>
            </a:extLst>
          </p:cNvPr>
          <p:cNvCxnSpPr>
            <a:cxnSpLocks/>
          </p:cNvCxnSpPr>
          <p:nvPr/>
        </p:nvCxnSpPr>
        <p:spPr>
          <a:xfrm>
            <a:off x="5450104" y="5196308"/>
            <a:ext cx="0" cy="324147"/>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56" name="Immagine 55">
            <a:extLst>
              <a:ext uri="{FF2B5EF4-FFF2-40B4-BE49-F238E27FC236}">
                <a16:creationId xmlns:a16="http://schemas.microsoft.com/office/drawing/2014/main" id="{D1DBDD57-9531-0A1D-AB6E-0E551566B47C}"/>
              </a:ext>
            </a:extLst>
          </p:cNvPr>
          <p:cNvPicPr>
            <a:picLocks noChangeAspect="1"/>
          </p:cNvPicPr>
          <p:nvPr/>
        </p:nvPicPr>
        <p:blipFill>
          <a:blip r:embed="rId10"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5177123" y="5556581"/>
            <a:ext cx="575878" cy="575878"/>
          </a:xfrm>
          <a:prstGeom prst="rect">
            <a:avLst/>
          </a:prstGeom>
        </p:spPr>
      </p:pic>
      <p:sp>
        <p:nvSpPr>
          <p:cNvPr id="58" name="CasellaDiTesto 57">
            <a:extLst>
              <a:ext uri="{FF2B5EF4-FFF2-40B4-BE49-F238E27FC236}">
                <a16:creationId xmlns:a16="http://schemas.microsoft.com/office/drawing/2014/main" id="{F54B8A04-FCC6-EE05-9D6F-CC2C648E3C94}"/>
              </a:ext>
            </a:extLst>
          </p:cNvPr>
          <p:cNvSpPr txBox="1"/>
          <p:nvPr/>
        </p:nvSpPr>
        <p:spPr>
          <a:xfrm>
            <a:off x="-21116" y="2739700"/>
            <a:ext cx="4933839" cy="369332"/>
          </a:xfrm>
          <a:prstGeom prst="rect">
            <a:avLst/>
          </a:prstGeom>
          <a:noFill/>
        </p:spPr>
        <p:txBody>
          <a:bodyPr wrap="square">
            <a:spAutoFit/>
          </a:bodyPr>
          <a:lstStyle/>
          <a:p>
            <a:pPr lvl="0" algn="ctr"/>
            <a:r>
              <a:rPr lang="it-IT" dirty="0">
                <a:effectLst/>
                <a:latin typeface="Univers Condensed" panose="020B0506020202050204" pitchFamily="34" charset="0"/>
                <a:ea typeface="Times New Roman" panose="02020603050405020304" pitchFamily="18" charset="0"/>
              </a:rPr>
              <a:t>1. </a:t>
            </a:r>
            <a:r>
              <a:rPr lang="it-IT" b="1" dirty="0">
                <a:effectLst/>
                <a:latin typeface="Univers Condensed" panose="020B0506020202050204" pitchFamily="34" charset="0"/>
                <a:ea typeface="Times New Roman" panose="02020603050405020304" pitchFamily="18" charset="0"/>
              </a:rPr>
              <a:t>Registrati e accedi </a:t>
            </a:r>
            <a:r>
              <a:rPr lang="it-IT" dirty="0">
                <a:effectLst/>
                <a:latin typeface="Univers Condensed" panose="020B0506020202050204" pitchFamily="34" charset="0"/>
                <a:ea typeface="Times New Roman" panose="02020603050405020304" pitchFamily="18" charset="0"/>
              </a:rPr>
              <a:t>al Portale SIMEST</a:t>
            </a:r>
          </a:p>
        </p:txBody>
      </p:sp>
      <p:sp>
        <p:nvSpPr>
          <p:cNvPr id="62" name="CasellaDiTesto 61">
            <a:extLst>
              <a:ext uri="{FF2B5EF4-FFF2-40B4-BE49-F238E27FC236}">
                <a16:creationId xmlns:a16="http://schemas.microsoft.com/office/drawing/2014/main" id="{9E203C51-16D4-7F88-4EAC-34E367075C58}"/>
              </a:ext>
            </a:extLst>
          </p:cNvPr>
          <p:cNvSpPr txBox="1"/>
          <p:nvPr/>
        </p:nvSpPr>
        <p:spPr>
          <a:xfrm>
            <a:off x="24518" y="6279838"/>
            <a:ext cx="4913014" cy="369332"/>
          </a:xfrm>
          <a:prstGeom prst="rect">
            <a:avLst/>
          </a:prstGeom>
          <a:noFill/>
        </p:spPr>
        <p:txBody>
          <a:bodyPr wrap="square">
            <a:spAutoFit/>
          </a:bodyPr>
          <a:lstStyle/>
          <a:p>
            <a:pPr lvl="0" algn="ctr"/>
            <a:r>
              <a:rPr lang="it-IT" dirty="0">
                <a:effectLst/>
                <a:latin typeface="Univers Condensed" panose="020B0506020202050204" pitchFamily="34" charset="0"/>
                <a:ea typeface="Times New Roman" panose="02020603050405020304" pitchFamily="18" charset="0"/>
              </a:rPr>
              <a:t>5. </a:t>
            </a:r>
            <a:r>
              <a:rPr lang="it-IT" b="1" dirty="0">
                <a:effectLst/>
                <a:latin typeface="Univers Condensed" panose="020B0506020202050204" pitchFamily="34" charset="0"/>
                <a:ea typeface="Times New Roman" panose="02020603050405020304" pitchFamily="18" charset="0"/>
              </a:rPr>
              <a:t>Compila</a:t>
            </a:r>
            <a:r>
              <a:rPr lang="it-IT" dirty="0">
                <a:effectLst/>
                <a:latin typeface="Univers Condensed" panose="020B0506020202050204" pitchFamily="34" charset="0"/>
                <a:ea typeface="Times New Roman" panose="02020603050405020304" pitchFamily="18" charset="0"/>
              </a:rPr>
              <a:t> le dichiarazioni e </a:t>
            </a:r>
            <a:r>
              <a:rPr lang="it-IT" b="1" dirty="0">
                <a:effectLst/>
                <a:latin typeface="Univers Condensed" panose="020B0506020202050204" pitchFamily="34" charset="0"/>
                <a:ea typeface="Times New Roman" panose="02020603050405020304" pitchFamily="18" charset="0"/>
              </a:rPr>
              <a:t>firma</a:t>
            </a:r>
          </a:p>
        </p:txBody>
      </p:sp>
      <p:sp>
        <p:nvSpPr>
          <p:cNvPr id="5" name="CasellaDiTesto 4">
            <a:extLst>
              <a:ext uri="{FF2B5EF4-FFF2-40B4-BE49-F238E27FC236}">
                <a16:creationId xmlns:a16="http://schemas.microsoft.com/office/drawing/2014/main" id="{6791B0CC-7C9C-B73D-7FFE-B8B44B165631}"/>
              </a:ext>
            </a:extLst>
          </p:cNvPr>
          <p:cNvSpPr txBox="1"/>
          <p:nvPr/>
        </p:nvSpPr>
        <p:spPr>
          <a:xfrm>
            <a:off x="31631" y="5413901"/>
            <a:ext cx="4913014" cy="369332"/>
          </a:xfrm>
          <a:prstGeom prst="rect">
            <a:avLst/>
          </a:prstGeom>
          <a:noFill/>
        </p:spPr>
        <p:txBody>
          <a:bodyPr wrap="square">
            <a:spAutoFit/>
          </a:bodyPr>
          <a:lstStyle/>
          <a:p>
            <a:pPr lvl="0" algn="ctr"/>
            <a:r>
              <a:rPr lang="it-IT" dirty="0">
                <a:effectLst/>
                <a:latin typeface="Univers Condensed" panose="020B0506020202050204" pitchFamily="34" charset="0"/>
                <a:ea typeface="Times New Roman" panose="02020603050405020304" pitchFamily="18" charset="0"/>
              </a:rPr>
              <a:t>4. </a:t>
            </a:r>
            <a:r>
              <a:rPr lang="it-IT" b="1" dirty="0">
                <a:effectLst/>
                <a:latin typeface="Univers Condensed" panose="020B0506020202050204" pitchFamily="34" charset="0"/>
                <a:ea typeface="Times New Roman" panose="02020603050405020304" pitchFamily="18" charset="0"/>
              </a:rPr>
              <a:t>Completa</a:t>
            </a:r>
            <a:r>
              <a:rPr lang="it-IT" dirty="0">
                <a:effectLst/>
                <a:latin typeface="Univers Condensed" panose="020B0506020202050204" pitchFamily="34" charset="0"/>
                <a:ea typeface="Times New Roman" panose="02020603050405020304" pitchFamily="18" charset="0"/>
              </a:rPr>
              <a:t> il profilo della tua azienda</a:t>
            </a:r>
          </a:p>
        </p:txBody>
      </p:sp>
      <p:sp>
        <p:nvSpPr>
          <p:cNvPr id="8" name="CasellaDiTesto 7">
            <a:extLst>
              <a:ext uri="{FF2B5EF4-FFF2-40B4-BE49-F238E27FC236}">
                <a16:creationId xmlns:a16="http://schemas.microsoft.com/office/drawing/2014/main" id="{16FAADF0-79B3-95F1-4891-113F04DEEF9A}"/>
              </a:ext>
            </a:extLst>
          </p:cNvPr>
          <p:cNvSpPr txBox="1"/>
          <p:nvPr/>
        </p:nvSpPr>
        <p:spPr>
          <a:xfrm>
            <a:off x="-21116" y="3630855"/>
            <a:ext cx="4913014" cy="369332"/>
          </a:xfrm>
          <a:prstGeom prst="rect">
            <a:avLst/>
          </a:prstGeom>
          <a:noFill/>
        </p:spPr>
        <p:txBody>
          <a:bodyPr wrap="square">
            <a:spAutoFit/>
          </a:bodyPr>
          <a:lstStyle/>
          <a:p>
            <a:pPr lvl="0" algn="ctr"/>
            <a:r>
              <a:rPr lang="it-IT" dirty="0">
                <a:effectLst/>
                <a:latin typeface="Univers Condensed" panose="020B0506020202050204" pitchFamily="34" charset="0"/>
                <a:ea typeface="Times New Roman" panose="02020603050405020304" pitchFamily="18" charset="0"/>
              </a:rPr>
              <a:t>2. </a:t>
            </a:r>
            <a:r>
              <a:rPr lang="it-IT" b="1" dirty="0">
                <a:latin typeface="Univers Condensed" panose="020B0506020202050204" pitchFamily="34" charset="0"/>
                <a:ea typeface="Times New Roman" panose="02020603050405020304" pitchFamily="18" charset="0"/>
              </a:rPr>
              <a:t>Seleziona</a:t>
            </a:r>
            <a:r>
              <a:rPr lang="it-IT" dirty="0">
                <a:latin typeface="Univers Condensed" panose="020B0506020202050204" pitchFamily="34" charset="0"/>
                <a:ea typeface="Times New Roman" panose="02020603050405020304" pitchFamily="18" charset="0"/>
              </a:rPr>
              <a:t> il finanziamento desiderato</a:t>
            </a:r>
            <a:endParaRPr lang="it-IT" dirty="0">
              <a:effectLst/>
              <a:latin typeface="Univers Condensed" panose="020B0506020202050204" pitchFamily="34" charset="0"/>
              <a:ea typeface="Times New Roman" panose="02020603050405020304" pitchFamily="18" charset="0"/>
            </a:endParaRPr>
          </a:p>
        </p:txBody>
      </p:sp>
      <p:sp>
        <p:nvSpPr>
          <p:cNvPr id="23" name="CasellaDiTesto 22">
            <a:extLst>
              <a:ext uri="{FF2B5EF4-FFF2-40B4-BE49-F238E27FC236}">
                <a16:creationId xmlns:a16="http://schemas.microsoft.com/office/drawing/2014/main" id="{49B82286-4D0B-E6EA-57D0-37CDEBC16874}"/>
              </a:ext>
            </a:extLst>
          </p:cNvPr>
          <p:cNvSpPr txBox="1"/>
          <p:nvPr/>
        </p:nvSpPr>
        <p:spPr>
          <a:xfrm>
            <a:off x="50177" y="4525586"/>
            <a:ext cx="4789461" cy="369332"/>
          </a:xfrm>
          <a:prstGeom prst="rect">
            <a:avLst/>
          </a:prstGeom>
          <a:noFill/>
        </p:spPr>
        <p:txBody>
          <a:bodyPr wrap="square">
            <a:spAutoFit/>
          </a:bodyPr>
          <a:lstStyle/>
          <a:p>
            <a:pPr lvl="0" algn="ctr"/>
            <a:r>
              <a:rPr lang="it-IT" dirty="0">
                <a:latin typeface="Univers Condensed" panose="020B0506020202050204" pitchFamily="34" charset="0"/>
                <a:ea typeface="Times New Roman" panose="02020603050405020304" pitchFamily="18" charset="0"/>
              </a:rPr>
              <a:t>3</a:t>
            </a:r>
            <a:r>
              <a:rPr lang="it-IT" dirty="0">
                <a:effectLst/>
                <a:latin typeface="Univers Condensed" panose="020B0506020202050204" pitchFamily="34" charset="0"/>
                <a:ea typeface="Times New Roman" panose="02020603050405020304" pitchFamily="18" charset="0"/>
              </a:rPr>
              <a:t>. </a:t>
            </a:r>
            <a:r>
              <a:rPr lang="it-IT" b="1" dirty="0">
                <a:effectLst/>
                <a:latin typeface="Univers Condensed" panose="020B0506020202050204" pitchFamily="34" charset="0"/>
                <a:ea typeface="Times New Roman" panose="02020603050405020304" pitchFamily="18" charset="0"/>
              </a:rPr>
              <a:t>Descrivi</a:t>
            </a:r>
            <a:r>
              <a:rPr lang="it-IT" dirty="0">
                <a:effectLst/>
                <a:latin typeface="Univers Condensed" panose="020B0506020202050204" pitchFamily="34" charset="0"/>
                <a:ea typeface="Times New Roman" panose="02020603050405020304" pitchFamily="18" charset="0"/>
              </a:rPr>
              <a:t> l</a:t>
            </a:r>
            <a:r>
              <a:rPr lang="it-IT" dirty="0">
                <a:latin typeface="Univers Condensed" panose="020B0506020202050204" pitchFamily="34" charset="0"/>
                <a:ea typeface="Times New Roman" panose="02020603050405020304" pitchFamily="18" charset="0"/>
              </a:rPr>
              <a:t>a tua azienda e il tuo progetto</a:t>
            </a:r>
            <a:endParaRPr lang="it-IT" dirty="0">
              <a:effectLst/>
              <a:latin typeface="Univers Condensed" panose="020B0506020202050204" pitchFamily="34" charset="0"/>
              <a:ea typeface="Times New Roman" panose="02020603050405020304" pitchFamily="18" charset="0"/>
            </a:endParaRPr>
          </a:p>
        </p:txBody>
      </p:sp>
      <p:pic>
        <p:nvPicPr>
          <p:cNvPr id="2" name="Immagine 1">
            <a:extLst>
              <a:ext uri="{FF2B5EF4-FFF2-40B4-BE49-F238E27FC236}">
                <a16:creationId xmlns:a16="http://schemas.microsoft.com/office/drawing/2014/main" id="{85092C2B-8504-C8D9-3BBB-C90732D7D5F4}"/>
              </a:ext>
            </a:extLst>
          </p:cNvPr>
          <p:cNvPicPr>
            <a:picLocks noChangeAspect="1"/>
          </p:cNvPicPr>
          <p:nvPr/>
        </p:nvPicPr>
        <p:blipFill rotWithShape="1">
          <a:blip r:embed="rId11"/>
          <a:srcRect b="55844"/>
          <a:stretch/>
        </p:blipFill>
        <p:spPr>
          <a:xfrm>
            <a:off x="-27404" y="1220585"/>
            <a:ext cx="4965761" cy="1101934"/>
          </a:xfrm>
          <a:prstGeom prst="rect">
            <a:avLst/>
          </a:prstGeom>
        </p:spPr>
      </p:pic>
      <p:pic>
        <p:nvPicPr>
          <p:cNvPr id="12" name="Elemento grafico 11" descr="Portatile con riempimento a tinta unita">
            <a:extLst>
              <a:ext uri="{FF2B5EF4-FFF2-40B4-BE49-F238E27FC236}">
                <a16:creationId xmlns:a16="http://schemas.microsoft.com/office/drawing/2014/main" id="{686998AA-7726-12B3-D5B6-B2FBC8F46682}"/>
              </a:ext>
            </a:extLst>
          </p:cNvPr>
          <p:cNvPicPr>
            <a:picLocks noChangeAspect="1"/>
          </p:cNvPicPr>
          <p:nvPr/>
        </p:nvPicPr>
        <p:blipFill>
          <a:blip r:embed="rId12" cstate="screen">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261427" y="2363746"/>
            <a:ext cx="478743" cy="478743"/>
          </a:xfrm>
          <a:prstGeom prst="rect">
            <a:avLst/>
          </a:prstGeom>
        </p:spPr>
      </p:pic>
      <p:pic>
        <p:nvPicPr>
          <p:cNvPr id="17" name="Elemento grafico 16" descr="Firma con riempimento a tinta unita">
            <a:extLst>
              <a:ext uri="{FF2B5EF4-FFF2-40B4-BE49-F238E27FC236}">
                <a16:creationId xmlns:a16="http://schemas.microsoft.com/office/drawing/2014/main" id="{7A727F55-BE64-6C56-D36E-B0ACA10E9A21}"/>
              </a:ext>
            </a:extLst>
          </p:cNvPr>
          <p:cNvPicPr>
            <a:picLocks noChangeAspect="1"/>
          </p:cNvPicPr>
          <p:nvPr/>
        </p:nvPicPr>
        <p:blipFill>
          <a:blip r:embed="rId14" cstate="screen">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240814" y="5919838"/>
            <a:ext cx="407581" cy="407581"/>
          </a:xfrm>
          <a:prstGeom prst="rect">
            <a:avLst/>
          </a:prstGeom>
        </p:spPr>
      </p:pic>
      <p:pic>
        <p:nvPicPr>
          <p:cNvPr id="19" name="Elemento grafico 18" descr="Selezione posta in arrivo con riempimento a tinta unita">
            <a:extLst>
              <a:ext uri="{FF2B5EF4-FFF2-40B4-BE49-F238E27FC236}">
                <a16:creationId xmlns:a16="http://schemas.microsoft.com/office/drawing/2014/main" id="{3A908F5C-5B8D-F37E-9CCF-CCDDFB094CDA}"/>
              </a:ext>
            </a:extLst>
          </p:cNvPr>
          <p:cNvPicPr>
            <a:picLocks noChangeAspect="1"/>
          </p:cNvPicPr>
          <p:nvPr/>
        </p:nvPicPr>
        <p:blipFill>
          <a:blip r:embed="rId16" cstate="screen">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261427" y="3181764"/>
            <a:ext cx="478743" cy="478743"/>
          </a:xfrm>
          <a:prstGeom prst="rect">
            <a:avLst/>
          </a:prstGeom>
        </p:spPr>
      </p:pic>
      <p:pic>
        <p:nvPicPr>
          <p:cNvPr id="21" name="Elemento grafico 20" descr="Lente di ingrandimento con riempimento a tinta unita">
            <a:extLst>
              <a:ext uri="{FF2B5EF4-FFF2-40B4-BE49-F238E27FC236}">
                <a16:creationId xmlns:a16="http://schemas.microsoft.com/office/drawing/2014/main" id="{A888E68F-2464-4E99-A97B-8A476E2D8545}"/>
              </a:ext>
            </a:extLst>
          </p:cNvPr>
          <p:cNvPicPr>
            <a:picLocks noChangeAspect="1"/>
          </p:cNvPicPr>
          <p:nvPr/>
        </p:nvPicPr>
        <p:blipFill>
          <a:blip r:embed="rId18" cstate="screen">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331918" y="4149641"/>
            <a:ext cx="408252" cy="408252"/>
          </a:xfrm>
          <a:prstGeom prst="rect">
            <a:avLst/>
          </a:prstGeom>
        </p:spPr>
      </p:pic>
      <p:pic>
        <p:nvPicPr>
          <p:cNvPr id="24" name="Elemento grafico 23" descr="Elenco di controllo contorno">
            <a:extLst>
              <a:ext uri="{FF2B5EF4-FFF2-40B4-BE49-F238E27FC236}">
                <a16:creationId xmlns:a16="http://schemas.microsoft.com/office/drawing/2014/main" id="{C1F662A9-8BC8-C86D-E4BE-F53F570E3318}"/>
              </a:ext>
            </a:extLst>
          </p:cNvPr>
          <p:cNvPicPr>
            <a:picLocks noChangeAspect="1"/>
          </p:cNvPicPr>
          <p:nvPr/>
        </p:nvPicPr>
        <p:blipFill>
          <a:blip r:embed="rId20" cstate="screen">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331918" y="5023421"/>
            <a:ext cx="408252" cy="408252"/>
          </a:xfrm>
          <a:prstGeom prst="rect">
            <a:avLst/>
          </a:prstGeom>
        </p:spPr>
      </p:pic>
    </p:spTree>
    <p:extLst>
      <p:ext uri="{BB962C8B-B14F-4D97-AF65-F5344CB8AC3E}">
        <p14:creationId xmlns:p14="http://schemas.microsoft.com/office/powerpoint/2010/main" val="41534672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imest Grid Custom - 18797">
  <a:themeElements>
    <a:clrScheme name="Custom 2">
      <a:dk1>
        <a:srgbClr val="415364"/>
      </a:dk1>
      <a:lt1>
        <a:sysClr val="window" lastClr="FFFFFF"/>
      </a:lt1>
      <a:dk2>
        <a:srgbClr val="415364"/>
      </a:dk2>
      <a:lt2>
        <a:srgbClr val="F2F2F2"/>
      </a:lt2>
      <a:accent1>
        <a:srgbClr val="202932"/>
      </a:accent1>
      <a:accent2>
        <a:srgbClr val="303E4B"/>
      </a:accent2>
      <a:accent3>
        <a:srgbClr val="ED953D"/>
      </a:accent3>
      <a:accent4>
        <a:srgbClr val="B4C7E7"/>
      </a:accent4>
      <a:accent5>
        <a:srgbClr val="A5A5A5"/>
      </a:accent5>
      <a:accent6>
        <a:srgbClr val="00A752"/>
      </a:accent6>
      <a:hlink>
        <a:srgbClr val="000000"/>
      </a:hlink>
      <a:folHlink>
        <a:srgbClr val="B4C7E7"/>
      </a:folHlink>
    </a:clrScheme>
    <a:fontScheme name="Custom 2">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0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5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6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Simest Grid Custom - 18797">
  <a:themeElements>
    <a:clrScheme name="Custom 2">
      <a:dk1>
        <a:srgbClr val="415364"/>
      </a:dk1>
      <a:lt1>
        <a:sysClr val="window" lastClr="FFFFFF"/>
      </a:lt1>
      <a:dk2>
        <a:srgbClr val="415364"/>
      </a:dk2>
      <a:lt2>
        <a:srgbClr val="F2F2F2"/>
      </a:lt2>
      <a:accent1>
        <a:srgbClr val="202932"/>
      </a:accent1>
      <a:accent2>
        <a:srgbClr val="303E4B"/>
      </a:accent2>
      <a:accent3>
        <a:srgbClr val="ED953D"/>
      </a:accent3>
      <a:accent4>
        <a:srgbClr val="B4C7E7"/>
      </a:accent4>
      <a:accent5>
        <a:srgbClr val="A5A5A5"/>
      </a:accent5>
      <a:accent6>
        <a:srgbClr val="00A752"/>
      </a:accent6>
      <a:hlink>
        <a:srgbClr val="000000"/>
      </a:hlink>
      <a:folHlink>
        <a:srgbClr val="B4C7E7"/>
      </a:folHlink>
    </a:clrScheme>
    <a:fontScheme name="Custom 2">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0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7.xml><?xml version="1.0" encoding="utf-8"?>
<a:theme xmlns:a="http://schemas.openxmlformats.org/drawingml/2006/main" name="7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Tema di Office">
  <a:themeElements>
    <a:clrScheme name="Tema di 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Tema di 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9.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AF99B52BC81DC645A672F37DC31456A5" ma:contentTypeVersion="21" ma:contentTypeDescription="Creare un nuovo documento." ma:contentTypeScope="" ma:versionID="e87c886573f888f757b120825dc20d95">
  <xsd:schema xmlns:xsd="http://www.w3.org/2001/XMLSchema" xmlns:xs="http://www.w3.org/2001/XMLSchema" xmlns:p="http://schemas.microsoft.com/office/2006/metadata/properties" xmlns:ns3="fcc4f7ef-23f9-4d59-9b4d-756b359ee462" xmlns:ns4="ad2f20cc-6725-4d82-94d0-0caecf977905" targetNamespace="http://schemas.microsoft.com/office/2006/metadata/properties" ma:root="true" ma:fieldsID="17812f6f793c1400c84424c4c30c4dfd" ns3:_="" ns4:_="">
    <xsd:import namespace="fcc4f7ef-23f9-4d59-9b4d-756b359ee462"/>
    <xsd:import namespace="ad2f20cc-6725-4d82-94d0-0caecf977905"/>
    <xsd:element name="properties">
      <xsd:complexType>
        <xsd:sequence>
          <xsd:element name="documentManagement">
            <xsd:complexType>
              <xsd:all>
                <xsd:element ref="ns3:MigrationWizId" minOccurs="0"/>
                <xsd:element ref="ns3:MigrationWizIdPermissions" minOccurs="0"/>
                <xsd:element ref="ns3:MigrationWizIdPermissionLevels" minOccurs="0"/>
                <xsd:element ref="ns3:MigrationWizIdDocumentLibraryPermissions" minOccurs="0"/>
                <xsd:element ref="ns3:MigrationWizIdSecurityGroups" minOccurs="0"/>
                <xsd:element ref="ns4:SharedWithUsers" minOccurs="0"/>
                <xsd:element ref="ns4:SharedWithDetails" minOccurs="0"/>
                <xsd:element ref="ns4:SharingHintHash"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LengthInSeconds" minOccurs="0"/>
                <xsd:element ref="ns3:_activity" minOccurs="0"/>
                <xsd:element ref="ns3:MediaServiceObjectDetectorVersions" minOccurs="0"/>
                <xsd:element ref="ns3:MediaServiceSearchProperties" minOccurs="0"/>
                <xsd:element ref="ns3: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cc4f7ef-23f9-4d59-9b4d-756b359ee462" elementFormDefault="qualified">
    <xsd:import namespace="http://schemas.microsoft.com/office/2006/documentManagement/types"/>
    <xsd:import namespace="http://schemas.microsoft.com/office/infopath/2007/PartnerControls"/>
    <xsd:element name="MigrationWizId" ma:index="8" nillable="true" ma:displayName="MigrationWizId" ma:internalName="MigrationWizId">
      <xsd:simpleType>
        <xsd:restriction base="dms:Text"/>
      </xsd:simpleType>
    </xsd:element>
    <xsd:element name="MigrationWizIdPermissions" ma:index="9" nillable="true" ma:displayName="MigrationWizIdPermissions" ma:internalName="MigrationWizIdPermissions">
      <xsd:simpleType>
        <xsd:restriction base="dms:Text"/>
      </xsd:simpleType>
    </xsd:element>
    <xsd:element name="MigrationWizIdPermissionLevels" ma:index="10" nillable="true" ma:displayName="MigrationWizIdPermissionLevels" ma:internalName="MigrationWizIdPermissionLevels">
      <xsd:simpleType>
        <xsd:restriction base="dms:Text"/>
      </xsd:simpleType>
    </xsd:element>
    <xsd:element name="MigrationWizIdDocumentLibraryPermissions" ma:index="11" nillable="true" ma:displayName="MigrationWizIdDocumentLibraryPermissions" ma:internalName="MigrationWizIdDocumentLibraryPermissions">
      <xsd:simpleType>
        <xsd:restriction base="dms:Text"/>
      </xsd:simpleType>
    </xsd:element>
    <xsd:element name="MigrationWizIdSecurityGroups" ma:index="12" nillable="true" ma:displayName="MigrationWizIdSecurityGroups" ma:internalName="MigrationWizIdSecurityGroups">
      <xsd:simpleType>
        <xsd:restriction base="dms:Text"/>
      </xsd:simpleType>
    </xsd:element>
    <xsd:element name="MediaServiceMetadata" ma:index="16" nillable="true" ma:displayName="MediaServiceMetadata" ma:hidden="true" ma:internalName="MediaServiceMetadata" ma:readOnly="true">
      <xsd:simpleType>
        <xsd:restriction base="dms:Note"/>
      </xsd:simpleType>
    </xsd:element>
    <xsd:element name="MediaServiceFastMetadata" ma:index="17" nillable="true" ma:displayName="MediaServiceFastMetadata" ma:hidden="true" ma:internalName="MediaServiceFastMetadata" ma:readOnly="true">
      <xsd:simpleType>
        <xsd:restriction base="dms:Note"/>
      </xsd:simpleType>
    </xsd:element>
    <xsd:element name="MediaServiceAutoTags" ma:index="18" nillable="true" ma:displayName="Tags" ma:internalName="MediaServiceAutoTags"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DateTaken" ma:index="22" nillable="true" ma:displayName="MediaServiceDateTaken" ma:hidden="true" ma:indexed="true" ma:internalName="MediaServiceDateTaken"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LengthInSeconds" ma:index="24" nillable="true" ma:displayName="MediaLengthInSeconds" ma:hidden="true" ma:internalName="MediaLengthInSeconds" ma:readOnly="true">
      <xsd:simpleType>
        <xsd:restriction base="dms:Unknown"/>
      </xsd:simpleType>
    </xsd:element>
    <xsd:element name="_activity" ma:index="25" nillable="true" ma:displayName="_activity" ma:hidden="true" ma:internalName="_activity">
      <xsd:simpleType>
        <xsd:restriction base="dms:Note"/>
      </xsd:simple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element name="MediaServiceSystemTags" ma:index="28" nillable="true" ma:displayName="MediaServiceSystemTags" ma:hidden="true" ma:internalName="MediaServiceSystem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d2f20cc-6725-4d82-94d0-0caecf977905" elementFormDefault="qualified">
    <xsd:import namespace="http://schemas.microsoft.com/office/2006/documentManagement/types"/>
    <xsd:import namespace="http://schemas.microsoft.com/office/infopath/2007/PartnerControls"/>
    <xsd:element name="SharedWithUsers" ma:index="13" nillable="true" ma:displayName="Condivis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Condiviso con dettagli" ma:internalName="SharedWithDetails" ma:readOnly="true">
      <xsd:simpleType>
        <xsd:restriction base="dms:Note">
          <xsd:maxLength value="255"/>
        </xsd:restriction>
      </xsd:simpleType>
    </xsd:element>
    <xsd:element name="SharingHintHash" ma:index="15" nillable="true" ma:displayName="Hash suggerimento condivisione"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igrationWizIdPermissionLevels xmlns="fcc4f7ef-23f9-4d59-9b4d-756b359ee462" xsi:nil="true"/>
    <MigrationWizId xmlns="fcc4f7ef-23f9-4d59-9b4d-756b359ee462" xsi:nil="true"/>
    <MigrationWizIdSecurityGroups xmlns="fcc4f7ef-23f9-4d59-9b4d-756b359ee462" xsi:nil="true"/>
    <_activity xmlns="fcc4f7ef-23f9-4d59-9b4d-756b359ee462" xsi:nil="true"/>
    <MigrationWizIdPermissions xmlns="fcc4f7ef-23f9-4d59-9b4d-756b359ee462" xsi:nil="true"/>
    <MigrationWizIdDocumentLibraryPermissions xmlns="fcc4f7ef-23f9-4d59-9b4d-756b359ee462" xsi:nil="true"/>
  </documentManagement>
</p:properties>
</file>

<file path=customXml/itemProps1.xml><?xml version="1.0" encoding="utf-8"?>
<ds:datastoreItem xmlns:ds="http://schemas.openxmlformats.org/officeDocument/2006/customXml" ds:itemID="{C73C7350-71FE-4480-A0FC-4567FB9F82A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cc4f7ef-23f9-4d59-9b4d-756b359ee462"/>
    <ds:schemaRef ds:uri="ad2f20cc-6725-4d82-94d0-0caecf97790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F9146DA-0510-427A-9E14-BF754337BD24}">
  <ds:schemaRefs>
    <ds:schemaRef ds:uri="http://schemas.microsoft.com/sharepoint/v3/contenttype/forms"/>
  </ds:schemaRefs>
</ds:datastoreItem>
</file>

<file path=customXml/itemProps3.xml><?xml version="1.0" encoding="utf-8"?>
<ds:datastoreItem xmlns:ds="http://schemas.openxmlformats.org/officeDocument/2006/customXml" ds:itemID="{43925F45-C908-4F40-B9A8-0D3FB58A46C1}">
  <ds:schemaRefs>
    <ds:schemaRef ds:uri="ad2f20cc-6725-4d82-94d0-0caecf977905"/>
    <ds:schemaRef ds:uri="http://schemas.microsoft.com/office/2006/documentManagement/types"/>
    <ds:schemaRef ds:uri="http://schemas.openxmlformats.org/package/2006/metadata/core-properties"/>
    <ds:schemaRef ds:uri="http://purl.org/dc/elements/1.1/"/>
    <ds:schemaRef ds:uri="fcc4f7ef-23f9-4d59-9b4d-756b359ee462"/>
    <ds:schemaRef ds:uri="http://schemas.microsoft.com/office/2006/metadata/properties"/>
    <ds:schemaRef ds:uri="http://purl.org/dc/terms/"/>
    <ds:schemaRef ds:uri="http://schemas.microsoft.com/office/infopath/2007/PartnerControls"/>
    <ds:schemaRef ds:uri="http://www.w3.org/XML/1998/namespace"/>
    <ds:schemaRef ds:uri="http://purl.org/dc/dcmitype/"/>
  </ds:schemaRefs>
</ds:datastoreItem>
</file>

<file path=docMetadata/LabelInfo.xml><?xml version="1.0" encoding="utf-8"?>
<clbl:labelList xmlns:clbl="http://schemas.microsoft.com/office/2020/mipLabelMetadata">
  <clbl:label id="{dea03c14-1435-4ef5-bb92-af8fb4129243}" enabled="1" method="Privileged" siteId="{8c4b47b5-ea35-4370-817f-95066d4f8467}" removed="0"/>
</clbl:labelList>
</file>

<file path=docProps/app.xml><?xml version="1.0" encoding="utf-8"?>
<Properties xmlns="http://schemas.openxmlformats.org/officeDocument/2006/extended-properties" xmlns:vt="http://schemas.openxmlformats.org/officeDocument/2006/docPropsVTypes">
  <TotalTime>17393</TotalTime>
  <Words>1885</Words>
  <Application>Microsoft Office PowerPoint</Application>
  <PresentationFormat>Widescreen</PresentationFormat>
  <Paragraphs>270</Paragraphs>
  <Slides>13</Slides>
  <Notes>2</Notes>
  <HiddenSlides>0</HiddenSlides>
  <MMClips>0</MMClips>
  <ScaleCrop>false</ScaleCrop>
  <HeadingPairs>
    <vt:vector size="8" baseType="variant">
      <vt:variant>
        <vt:lpstr>Caratteri utilizzati</vt:lpstr>
      </vt:variant>
      <vt:variant>
        <vt:i4>9</vt:i4>
      </vt:variant>
      <vt:variant>
        <vt:lpstr>Tema</vt:lpstr>
      </vt:variant>
      <vt:variant>
        <vt:i4>8</vt:i4>
      </vt:variant>
      <vt:variant>
        <vt:lpstr>Server OLE incorporati</vt:lpstr>
      </vt:variant>
      <vt:variant>
        <vt:i4>2</vt:i4>
      </vt:variant>
      <vt:variant>
        <vt:lpstr>Titoli diapositive</vt:lpstr>
      </vt:variant>
      <vt:variant>
        <vt:i4>13</vt:i4>
      </vt:variant>
    </vt:vector>
  </HeadingPairs>
  <TitlesOfParts>
    <vt:vector size="32" baseType="lpstr">
      <vt:lpstr>Aptos</vt:lpstr>
      <vt:lpstr>Aptos Display</vt:lpstr>
      <vt:lpstr>Arial</vt:lpstr>
      <vt:lpstr>Bressay</vt:lpstr>
      <vt:lpstr>Calibri</vt:lpstr>
      <vt:lpstr>Georgia</vt:lpstr>
      <vt:lpstr>Times New Roman</vt:lpstr>
      <vt:lpstr>Univers Condensed</vt:lpstr>
      <vt:lpstr>Wingdings</vt:lpstr>
      <vt:lpstr>4_Tema di Office</vt:lpstr>
      <vt:lpstr>Simest Grid Custom - 18797</vt:lpstr>
      <vt:lpstr>5_Tema di Office</vt:lpstr>
      <vt:lpstr>1_Tema di Office</vt:lpstr>
      <vt:lpstr>6_Tema di Office</vt:lpstr>
      <vt:lpstr>1_Simest Grid Custom - 18797</vt:lpstr>
      <vt:lpstr>7_Tema di Office</vt:lpstr>
      <vt:lpstr>Tema di Office</vt:lpstr>
      <vt:lpstr>think-cell Slide</vt:lpstr>
      <vt:lpstr>Diapositiva think-cell</vt:lpstr>
      <vt:lpstr>La TUA  IMPRESA  è il mondo,  SIMEST è al tuo fianco.</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Company>SACE S.p.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Mearelli, Chiara</dc:creator>
  <cp:lastModifiedBy>Caterina Picconi</cp:lastModifiedBy>
  <cp:revision>198</cp:revision>
  <dcterms:created xsi:type="dcterms:W3CDTF">2022-11-09T08:33:09Z</dcterms:created>
  <dcterms:modified xsi:type="dcterms:W3CDTF">2026-02-19T17:22: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e62b6ef-db1a-4e15-b1cb-16e3a6a11a3f_Enabled">
    <vt:lpwstr>true</vt:lpwstr>
  </property>
  <property fmtid="{D5CDD505-2E9C-101B-9397-08002B2CF9AE}" pid="3" name="MSIP_Label_be62b6ef-db1a-4e15-b1cb-16e3a6a11a3f_SetDate">
    <vt:lpwstr>2022-11-09T08:46:37Z</vt:lpwstr>
  </property>
  <property fmtid="{D5CDD505-2E9C-101B-9397-08002B2CF9AE}" pid="4" name="MSIP_Label_be62b6ef-db1a-4e15-b1cb-16e3a6a11a3f_Method">
    <vt:lpwstr>Privileged</vt:lpwstr>
  </property>
  <property fmtid="{D5CDD505-2E9C-101B-9397-08002B2CF9AE}" pid="5" name="MSIP_Label_be62b6ef-db1a-4e15-b1cb-16e3a6a11a3f_Name">
    <vt:lpwstr>sace_0002</vt:lpwstr>
  </property>
  <property fmtid="{D5CDD505-2E9C-101B-9397-08002B2CF9AE}" pid="6" name="MSIP_Label_be62b6ef-db1a-4e15-b1cb-16e3a6a11a3f_SiteId">
    <vt:lpwstr>91443f7c-eefc-48b6-9946-a96937f65fc0</vt:lpwstr>
  </property>
  <property fmtid="{D5CDD505-2E9C-101B-9397-08002B2CF9AE}" pid="7" name="MSIP_Label_be62b6ef-db1a-4e15-b1cb-16e3a6a11a3f_ActionId">
    <vt:lpwstr>cadc79ee-5a06-4242-b6dc-288e492439b6</vt:lpwstr>
  </property>
  <property fmtid="{D5CDD505-2E9C-101B-9397-08002B2CF9AE}" pid="8" name="MSIP_Label_be62b6ef-db1a-4e15-b1cb-16e3a6a11a3f_ContentBits">
    <vt:lpwstr>0</vt:lpwstr>
  </property>
  <property fmtid="{D5CDD505-2E9C-101B-9397-08002B2CF9AE}" pid="9" name="MSIP_Label_dea03c14-1435-4ef5-bb92-af8fb4129243_Enabled">
    <vt:lpwstr>true</vt:lpwstr>
  </property>
  <property fmtid="{D5CDD505-2E9C-101B-9397-08002B2CF9AE}" pid="10" name="MSIP_Label_dea03c14-1435-4ef5-bb92-af8fb4129243_SetDate">
    <vt:lpwstr>2024-03-25T11:45:06Z</vt:lpwstr>
  </property>
  <property fmtid="{D5CDD505-2E9C-101B-9397-08002B2CF9AE}" pid="11" name="MSIP_Label_dea03c14-1435-4ef5-bb92-af8fb4129243_Method">
    <vt:lpwstr>Privileged</vt:lpwstr>
  </property>
  <property fmtid="{D5CDD505-2E9C-101B-9397-08002B2CF9AE}" pid="12" name="MSIP_Label_dea03c14-1435-4ef5-bb92-af8fb4129243_Name">
    <vt:lpwstr>dea03c14-1435-4ef5-bb92-af8fb4129243</vt:lpwstr>
  </property>
  <property fmtid="{D5CDD505-2E9C-101B-9397-08002B2CF9AE}" pid="13" name="MSIP_Label_dea03c14-1435-4ef5-bb92-af8fb4129243_SiteId">
    <vt:lpwstr>8c4b47b5-ea35-4370-817f-95066d4f8467</vt:lpwstr>
  </property>
  <property fmtid="{D5CDD505-2E9C-101B-9397-08002B2CF9AE}" pid="14" name="MSIP_Label_dea03c14-1435-4ef5-bb92-af8fb4129243_ActionId">
    <vt:lpwstr>ef0cbc1c-e0c3-4996-b0a5-bfca35fd95b5</vt:lpwstr>
  </property>
  <property fmtid="{D5CDD505-2E9C-101B-9397-08002B2CF9AE}" pid="15" name="MSIP_Label_dea03c14-1435-4ef5-bb92-af8fb4129243_ContentBits">
    <vt:lpwstr>0</vt:lpwstr>
  </property>
  <property fmtid="{D5CDD505-2E9C-101B-9397-08002B2CF9AE}" pid="16" name="ContentTypeId">
    <vt:lpwstr>0x010100AF99B52BC81DC645A672F37DC31456A5</vt:lpwstr>
  </property>
</Properties>
</file>